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6.xml" ContentType="application/vnd.openxmlformats-officedocument.drawingml.chart+xml"/>
  <Override PartName="/ppt/notesSlides/notesSlide10.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1.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2.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1" r:id="rId4"/>
    <p:sldMasterId id="2147483869" r:id="rId5"/>
  </p:sldMasterIdLst>
  <p:notesMasterIdLst>
    <p:notesMasterId r:id="rId27"/>
  </p:notesMasterIdLst>
  <p:handoutMasterIdLst>
    <p:handoutMasterId r:id="rId28"/>
  </p:handoutMasterIdLst>
  <p:sldIdLst>
    <p:sldId id="2146848176" r:id="rId6"/>
    <p:sldId id="12497" r:id="rId7"/>
    <p:sldId id="2500" r:id="rId8"/>
    <p:sldId id="12508" r:id="rId9"/>
    <p:sldId id="12713" r:id="rId10"/>
    <p:sldId id="1645" r:id="rId11"/>
    <p:sldId id="2146848177" r:id="rId12"/>
    <p:sldId id="1862287154" r:id="rId13"/>
    <p:sldId id="2146848178" r:id="rId14"/>
    <p:sldId id="3526" r:id="rId15"/>
    <p:sldId id="1862287165" r:id="rId16"/>
    <p:sldId id="2146848174" r:id="rId17"/>
    <p:sldId id="1862287158" r:id="rId18"/>
    <p:sldId id="1178" r:id="rId19"/>
    <p:sldId id="1336" r:id="rId20"/>
    <p:sldId id="2146848125" r:id="rId21"/>
    <p:sldId id="12516" r:id="rId22"/>
    <p:sldId id="13878" r:id="rId23"/>
    <p:sldId id="2146848175" r:id="rId24"/>
    <p:sldId id="12515" r:id="rId25"/>
    <p:sldId id="2146848179" r:id="rId2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F1A61E-4CE0-4CB0-A55F-984F87F73E2D}" name="Jones,Caroline" initials="J" userId="S::Caroline.Jones@gartner.com::fece1fa4-0048-4d6b-921e-00ea19efc77c" providerId="AD"/>
  <p188:author id="{2A4C6185-C994-C84B-EEB4-BADE6E43CF05}" name="Brown,Tim A" initials="BA" userId="S::tim.brown@gartner.com::0d5cda52-6bc8-496f-a70a-f2e808091b54" providerId="AD"/>
  <p188:author id="{1335A096-5538-E8A4-DC70-5F37E00BC07C}" name="Meagher,Stewart" initials="M" userId="S::Stewart.Meagher@gartner.com::5fc9377f-e238-4b9a-828b-01c2202aea93" providerId="AD"/>
  <p188:author id="{DA2529B5-EF6D-1F52-8AE4-4B4B66FB38C3}" name="Baik,Jeanette" initials="B" userId="S::Jeanette.Baik@gartner.com::95d146fb-3aab-406c-9315-384b70fd7f71" providerId="AD"/>
  <p188:author id="{99E8B7DF-B1C6-B846-FA5E-02978C98F04C}" name="Bookstaver,Melanie V" initials="BV" userId="S::melanie.bookstaver@gartner.com::4498c51e-6705-402a-9d37-4e556b7ecba8" providerId="AD"/>
  <p188:author id="{F3FBA2F7-16B4-064B-68AB-7BA5E6448828}" name="Provenza,Joseph" initials="P" userId="S::Joseph.Provenza@gartner.com::cdf2ac61-73b6-471c-ada1-de92f041da6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nders,Rich" initials="E" lastIdx="4" clrIdx="0">
    <p:extLst>
      <p:ext uri="{19B8F6BF-5375-455C-9EA6-DF929625EA0E}">
        <p15:presenceInfo xmlns:p15="http://schemas.microsoft.com/office/powerpoint/2012/main" userId="S::Rich.Enders@gartner.com::1ad872d4-5fa0-4d3e-b9bc-40fded2a6f6d" providerId="AD"/>
      </p:ext>
    </p:extLst>
  </p:cmAuthor>
  <p:cmAuthor id="2" name="Puleio,Michelle" initials="P" lastIdx="1" clrIdx="1">
    <p:extLst>
      <p:ext uri="{19B8F6BF-5375-455C-9EA6-DF929625EA0E}">
        <p15:presenceInfo xmlns:p15="http://schemas.microsoft.com/office/powerpoint/2012/main" userId="S::Michelle.Puleio@gartner.com::4d61dde0-08c5-41fb-925d-691e51c28e04" providerId="AD"/>
      </p:ext>
    </p:extLst>
  </p:cmAuthor>
  <p:cmAuthor id="3" name="Rafferty,Charles" initials="R" lastIdx="1" clrIdx="2">
    <p:extLst>
      <p:ext uri="{19B8F6BF-5375-455C-9EA6-DF929625EA0E}">
        <p15:presenceInfo xmlns:p15="http://schemas.microsoft.com/office/powerpoint/2012/main" userId="S::Charles.Rafferty@gartner.com::7a4208b7-acfc-4cce-8499-c63b78448d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08" autoAdjust="0"/>
    <p:restoredTop sz="91958" autoAdjust="0"/>
  </p:normalViewPr>
  <p:slideViewPr>
    <p:cSldViewPr snapToGrid="0">
      <p:cViewPr varScale="1">
        <p:scale>
          <a:sx n="91" d="100"/>
          <a:sy n="91" d="100"/>
        </p:scale>
        <p:origin x="677" y="62"/>
      </p:cViewPr>
      <p:guideLst/>
    </p:cSldViewPr>
  </p:slideViewPr>
  <p:notesTextViewPr>
    <p:cViewPr>
      <p:scale>
        <a:sx n="1" d="1"/>
        <a:sy n="1" d="1"/>
      </p:scale>
      <p:origin x="0" y="0"/>
    </p:cViewPr>
  </p:notesTextViewPr>
  <p:notesViewPr>
    <p:cSldViewPr snapToGrid="0">
      <p:cViewPr>
        <p:scale>
          <a:sx n="60" d="100"/>
          <a:sy n="60" d="100"/>
        </p:scale>
        <p:origin x="3187" y="125"/>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oleObject" Target="file:///\\Users\tbrown\Desktop\Temporary%20Temp%20Trash\2023\04%20April\04%2004\LV%20758566%20Midsize%20Enterprise%20CIO\-text\_Original%20Submission\Slide%2010%20data%20-%20GLMS%20_%20IntentToStay_Data.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Users\tbrown\Desktop\Temporary%20Temp%20Trash\2023\04%20April\04%2004\LV%20758566%20Midsize%20Enterprise%20CIO\-text\_Original%20Submission\Slide%2010%20data%20-%20GLMS%20_%20IntentToStay_Data.xlsx" TargetMode="Externa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0697829437987"/>
          <c:y val="0.11672199134547465"/>
          <c:w val="0.85067977613909374"/>
          <c:h val="0.6101162066000299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dirty="0"/>
                      <a:t>6.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D3F-4F15-BF34-3A76BC1F1BB9}"/>
                </c:ext>
              </c:extLst>
            </c:dLbl>
            <c:dLbl>
              <c:idx val="1"/>
              <c:tx>
                <c:rich>
                  <a:bodyPr/>
                  <a:lstStyle/>
                  <a:p>
                    <a:r>
                      <a:rPr lang="en-US" dirty="0"/>
                      <a:t>5.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D3F-4F15-BF34-3A76BC1F1BB9}"/>
                </c:ext>
              </c:extLst>
            </c:dLbl>
            <c:dLbl>
              <c:idx val="2"/>
              <c:tx>
                <c:rich>
                  <a:bodyPr/>
                  <a:lstStyle/>
                  <a:p>
                    <a:r>
                      <a:rPr lang="en-US" dirty="0"/>
                      <a:t>3.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D3F-4F15-BF34-3A76BC1F1BB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250M</c:v>
                </c:pt>
                <c:pt idx="1">
                  <c:v>$250M - $500M</c:v>
                </c:pt>
                <c:pt idx="2">
                  <c:v>$500M - $1B</c:v>
                </c:pt>
              </c:strCache>
            </c:strRef>
          </c:cat>
          <c:val>
            <c:numRef>
              <c:f>Sheet1!$B$2:$B$4</c:f>
              <c:numCache>
                <c:formatCode>0.0%</c:formatCode>
                <c:ptCount val="3"/>
                <c:pt idx="0">
                  <c:v>6.0999999999999999E-2</c:v>
                </c:pt>
                <c:pt idx="1">
                  <c:v>4.5999999999999999E-2</c:v>
                </c:pt>
                <c:pt idx="2">
                  <c:v>3.5000000000000003E-2</c:v>
                </c:pt>
              </c:numCache>
            </c:numRef>
          </c:val>
          <c:extLst>
            <c:ext xmlns:c16="http://schemas.microsoft.com/office/drawing/2014/chart" uri="{C3380CC4-5D6E-409C-BE32-E72D297353CC}">
              <c16:uniqueId val="{00000000-4508-284C-BBAF-A85943CECBC2}"/>
            </c:ext>
          </c:extLst>
        </c:ser>
        <c:dLbls>
          <c:showLegendKey val="0"/>
          <c:showVal val="0"/>
          <c:showCatName val="0"/>
          <c:showSerName val="0"/>
          <c:showPercent val="0"/>
          <c:showBubbleSize val="0"/>
        </c:dLbls>
        <c:gapWidth val="50"/>
        <c:overlap val="-27"/>
        <c:axId val="2063696303"/>
        <c:axId val="464345072"/>
      </c:barChart>
      <c:catAx>
        <c:axId val="2063696303"/>
        <c:scaling>
          <c:orientation val="minMax"/>
        </c:scaling>
        <c:delete val="0"/>
        <c:axPos val="b"/>
        <c:numFmt formatCode="General" sourceLinked="1"/>
        <c:majorTickMark val="none"/>
        <c:minorTickMark val="none"/>
        <c:tickLblPos val="nextTo"/>
        <c:spPr>
          <a:noFill/>
          <a:ln w="25400" cap="flat" cmpd="sng" algn="ctr">
            <a:solidFill>
              <a:srgbClr val="6F7878"/>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464345072"/>
        <c:crosses val="autoZero"/>
        <c:auto val="1"/>
        <c:lblAlgn val="ctr"/>
        <c:lblOffset val="100"/>
        <c:noMultiLvlLbl val="0"/>
      </c:catAx>
      <c:valAx>
        <c:axId val="464345072"/>
        <c:scaling>
          <c:orientation val="minMax"/>
        </c:scaling>
        <c:delete val="0"/>
        <c:axPos val="l"/>
        <c:numFmt formatCode="0.0%" sourceLinked="0"/>
        <c:majorTickMark val="none"/>
        <c:minorTickMark val="none"/>
        <c:tickLblPos val="nextTo"/>
        <c:spPr>
          <a:noFill/>
          <a:ln w="25400">
            <a:solidFill>
              <a:srgbClr val="6F7878"/>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2063696303"/>
        <c:crosses val="autoZero"/>
        <c:crossBetween val="between"/>
        <c:majorUnit val="3.5000000000000003E-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2.014116258913852E-2"/>
          <c:y val="0"/>
          <c:w val="0.95824964310229943"/>
          <c:h val="0.99126646987217837"/>
        </c:manualLayout>
      </c:layout>
      <c:doughnutChart>
        <c:varyColors val="1"/>
        <c:ser>
          <c:idx val="0"/>
          <c:order val="0"/>
          <c:tx>
            <c:strRef>
              <c:f>Sheet1!$B$1</c:f>
              <c:strCache>
                <c:ptCount val="1"/>
                <c:pt idx="0">
                  <c:v>Column1</c:v>
                </c:pt>
              </c:strCache>
            </c:strRef>
          </c:tx>
          <c:spPr>
            <a:solidFill>
              <a:srgbClr val="002856"/>
            </a:solidFill>
            <a:ln w="12700">
              <a:solidFill>
                <a:srgbClr val="FFFFFF"/>
              </a:solidFill>
            </a:ln>
          </c:spPr>
          <c:dPt>
            <c:idx val="0"/>
            <c:bubble3D val="0"/>
            <c:spPr>
              <a:solidFill>
                <a:srgbClr val="009AD7"/>
              </a:solidFill>
              <a:ln w="12700">
                <a:solidFill>
                  <a:srgbClr val="FFFFFF"/>
                </a:solidFill>
              </a:ln>
            </c:spPr>
            <c:extLst>
              <c:ext xmlns:c16="http://schemas.microsoft.com/office/drawing/2014/chart" uri="{C3380CC4-5D6E-409C-BE32-E72D297353CC}">
                <c16:uniqueId val="{00000001-0480-46A1-82B9-F4CEBE9323B3}"/>
              </c:ext>
            </c:extLst>
          </c:dPt>
          <c:dPt>
            <c:idx val="1"/>
            <c:bubble3D val="0"/>
            <c:extLst>
              <c:ext xmlns:c16="http://schemas.microsoft.com/office/drawing/2014/chart" uri="{C3380CC4-5D6E-409C-BE32-E72D297353CC}">
                <c16:uniqueId val="{00000003-0480-46A1-82B9-F4CEBE9323B3}"/>
              </c:ext>
            </c:extLst>
          </c:dPt>
          <c:dLbls>
            <c:delete val="1"/>
          </c:dLbls>
          <c:cat>
            <c:strRef>
              <c:f>Sheet1!$A$2:$A$3</c:f>
              <c:strCache>
                <c:ptCount val="2"/>
                <c:pt idx="0">
                  <c:v>Meeting or Exceeding Expectations</c:v>
                </c:pt>
                <c:pt idx="1">
                  <c:v>Underperforming Expectations</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0480-46A1-82B9-F4CEBE9323B3}"/>
            </c:ext>
          </c:extLst>
        </c:ser>
        <c:dLbls>
          <c:showLegendKey val="0"/>
          <c:showVal val="1"/>
          <c:showCatName val="0"/>
          <c:showSerName val="0"/>
          <c:showPercent val="0"/>
          <c:showBubbleSize val="0"/>
          <c:showLeaderLines val="1"/>
        </c:dLbls>
        <c:firstSliceAng val="0"/>
        <c:holeSize val="50"/>
      </c:doughnutChart>
      <c:spPr>
        <a:noFill/>
        <a:extLst>
          <a:ext uri="{909E8E84-426E-40DD-AFC4-6F175D3DCCD1}">
            <a14:hiddenFill xmlns:a14="http://schemas.microsoft.com/office/drawing/2010/main">
              <a:noFill/>
            </a14:hiddenFill>
          </a:ext>
        </a:ex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defRPr sz="1200" b="0">
          <a:solidFill>
            <a:srgbClr val="000000"/>
          </a:solidFill>
          <a:latin typeface="Arial" panose="020B0604020202020204" pitchFamily="34"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204923017335296E-2"/>
          <c:y val="2.9934050448523188E-2"/>
          <c:w val="0.84834784030767751"/>
          <c:h val="0.96873991723242114"/>
        </c:manualLayout>
      </c:layout>
      <c:barChart>
        <c:barDir val="bar"/>
        <c:grouping val="stacked"/>
        <c:varyColors val="0"/>
        <c:ser>
          <c:idx val="0"/>
          <c:order val="0"/>
          <c:tx>
            <c:strRef>
              <c:f>Sheet1!$A$2</c:f>
              <c:strCache>
                <c:ptCount val="1"/>
                <c:pt idx="0">
                  <c:v>Behind or Just Achieving  Expected Value</c:v>
                </c:pt>
              </c:strCache>
            </c:strRef>
          </c:tx>
          <c:spPr>
            <a:solidFill>
              <a:srgbClr val="002856"/>
            </a:solidFill>
            <a:ln w="19939">
              <a:solidFill>
                <a:srgbClr val="FFFFFF"/>
              </a:solidFill>
            </a:ln>
            <a:effectLst/>
          </c:spPr>
          <c:invertIfNegative val="0"/>
          <c:dLbls>
            <c:dLbl>
              <c:idx val="0"/>
              <c:tx>
                <c:rich>
                  <a:bodyPr/>
                  <a:lstStyle/>
                  <a:p>
                    <a:fld id="{5F54684D-50D8-4FD5-B7B8-857CBD643CF7}"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8EA1-DF43-B852-EE3831ACC46A}"/>
                </c:ext>
              </c:extLst>
            </c:dLbl>
            <c:dLbl>
              <c:idx val="1"/>
              <c:tx>
                <c:rich>
                  <a:bodyPr/>
                  <a:lstStyle/>
                  <a:p>
                    <a:fld id="{649EEFA7-7444-4285-A994-6D321DB727F2}"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EA1-DF43-B852-EE3831ACC46A}"/>
                </c:ext>
              </c:extLst>
            </c:dLbl>
            <c:dLbl>
              <c:idx val="2"/>
              <c:tx>
                <c:rich>
                  <a:bodyPr/>
                  <a:lstStyle/>
                  <a:p>
                    <a:fld id="{AB94A2B3-AE52-4089-915D-0339F3E70F63}"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EA1-DF43-B852-EE3831ACC46A}"/>
                </c:ext>
              </c:extLst>
            </c:dLbl>
            <c:dLbl>
              <c:idx val="3"/>
              <c:tx>
                <c:rich>
                  <a:bodyPr/>
                  <a:lstStyle/>
                  <a:p>
                    <a:fld id="{5067FC18-A5B5-437F-8CCA-39E6F01F16F6}"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EA1-DF43-B852-EE3831ACC46A}"/>
                </c:ext>
              </c:extLst>
            </c:dLbl>
            <c:dLbl>
              <c:idx val="4"/>
              <c:tx>
                <c:rich>
                  <a:bodyPr/>
                  <a:lstStyle/>
                  <a:p>
                    <a:fld id="{EB0DDAB2-DA7A-4A45-A6EE-AEBF72CCF1C6}"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EA1-DF43-B852-EE3831ACC46A}"/>
                </c:ext>
              </c:extLst>
            </c:dLbl>
            <c:dLbl>
              <c:idx val="5"/>
              <c:tx>
                <c:rich>
                  <a:bodyPr/>
                  <a:lstStyle/>
                  <a:p>
                    <a:fld id="{09AB5444-1411-484D-93B8-6168C47E926A}"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EA1-DF43-B852-EE3831ACC46A}"/>
                </c:ext>
              </c:extLst>
            </c:dLbl>
            <c:dLbl>
              <c:idx val="6"/>
              <c:tx>
                <c:rich>
                  <a:bodyPr/>
                  <a:lstStyle/>
                  <a:p>
                    <a:fld id="{88C51FF0-9729-4451-9C7E-22628F217915}"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8EA1-DF43-B852-EE3831ACC46A}"/>
                </c:ext>
              </c:extLst>
            </c:dLbl>
            <c:dLbl>
              <c:idx val="7"/>
              <c:tx>
                <c:rich>
                  <a:bodyPr/>
                  <a:lstStyle/>
                  <a:p>
                    <a:fld id="{0A344C9A-6AAF-4D81-AE90-70296244183B}"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EA1-DF43-B852-EE3831ACC46A}"/>
                </c:ext>
              </c:extLst>
            </c:dLbl>
            <c:dLbl>
              <c:idx val="8"/>
              <c:tx>
                <c:rich>
                  <a:bodyPr/>
                  <a:lstStyle/>
                  <a:p>
                    <a:fld id="{A047A011-A339-44F1-9174-E95C3A63A5A9}"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8EA1-DF43-B852-EE3831ACC46A}"/>
                </c:ext>
              </c:extLst>
            </c:dLbl>
            <c:dLbl>
              <c:idx val="9"/>
              <c:tx>
                <c:rich>
                  <a:bodyPr/>
                  <a:lstStyle/>
                  <a:p>
                    <a:fld id="{BA738CFF-D11E-45B5-8B05-0001582F2CB3}"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EA1-DF43-B852-EE3831ACC46A}"/>
                </c:ext>
              </c:extLst>
            </c:dLbl>
            <c:dLbl>
              <c:idx val="10"/>
              <c:tx>
                <c:rich>
                  <a:bodyPr/>
                  <a:lstStyle/>
                  <a:p>
                    <a:fld id="{74A9BA74-C218-48D5-8466-E2961CB4CA58}"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8EA1-DF43-B852-EE3831ACC46A}"/>
                </c:ext>
              </c:extLst>
            </c:dLbl>
            <c:numFmt formatCode="\-#,##0%;#,##0%;" sourceLinked="0"/>
            <c:spPr>
              <a:noFill/>
              <a:ln>
                <a:noFill/>
              </a:ln>
              <a:effectLst/>
            </c:spPr>
            <c:txPr>
              <a:bodyPr rot="0" spcFirstLastPara="1" vertOverflow="ellipsis" vert="horz" wrap="square" anchor="ctr" anchorCtr="1"/>
              <a:lstStyle/>
              <a:p>
                <a:pPr>
                  <a:defRPr sz="1400" b="1" i="0" u="none" strike="noStrike" kern="1200" baseline="0">
                    <a:solidFill>
                      <a:srgbClr val="FFFFFF"/>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B$1:$L$1</c:f>
              <c:strCache>
                <c:ptCount val="11"/>
                <c:pt idx="0">
                  <c:v>Ensure legal and regulatory compliance (n = 39)</c:v>
                </c:pt>
                <c:pt idx="1">
                  <c:v>Ensure business continuity and resilience (n = 104)</c:v>
                </c:pt>
                <c:pt idx="2">
                  <c:v>Improve the employee experience (n = 58)</c:v>
                </c:pt>
                <c:pt idx="3">
                  <c:v>Reduce enterprise risks (n =77)</c:v>
                </c:pt>
                <c:pt idx="4">
                  <c:v>Introduce new products/services (n = 71)</c:v>
                </c:pt>
                <c:pt idx="5">
                  <c:v>Grow revenue (n = 99)</c:v>
                </c:pt>
                <c:pt idx="6">
                  <c:v>Improve the customer/citizen experience (n = 127)</c:v>
                </c:pt>
                <c:pt idx="7">
                  <c:v>Improve operational excellence (n = 199)</c:v>
                </c:pt>
                <c:pt idx="8">
                  <c:v>Increase innovation (n = 47)</c:v>
                </c:pt>
                <c:pt idx="9">
                  <c:v>Increase cost efficiency (n = 87)</c:v>
                </c:pt>
                <c:pt idx="10">
                  <c:v>Increase employee productivity (n = 115)</c:v>
                </c:pt>
              </c:strCache>
            </c:strRef>
          </c:cat>
          <c:val>
            <c:numRef>
              <c:f>Sheet1!$B$2:$L$2</c:f>
              <c:numCache>
                <c:formatCode>0%</c:formatCode>
                <c:ptCount val="11"/>
                <c:pt idx="0">
                  <c:v>-0.49</c:v>
                </c:pt>
                <c:pt idx="1">
                  <c:v>-0.53</c:v>
                </c:pt>
                <c:pt idx="2">
                  <c:v>-0.55000000000000004</c:v>
                </c:pt>
                <c:pt idx="3">
                  <c:v>-0.56000000000000005</c:v>
                </c:pt>
                <c:pt idx="4">
                  <c:v>-0.59</c:v>
                </c:pt>
                <c:pt idx="5">
                  <c:v>-0.61</c:v>
                </c:pt>
                <c:pt idx="6">
                  <c:v>-0.61</c:v>
                </c:pt>
                <c:pt idx="7">
                  <c:v>-0.62</c:v>
                </c:pt>
                <c:pt idx="8">
                  <c:v>-0.64</c:v>
                </c:pt>
                <c:pt idx="9">
                  <c:v>-0.67</c:v>
                </c:pt>
                <c:pt idx="10">
                  <c:v>-0.6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REF!</c15:f>
              </c15:datalabelsRange>
            </c:ext>
            <c:ext xmlns:c16="http://schemas.microsoft.com/office/drawing/2014/chart" uri="{C3380CC4-5D6E-409C-BE32-E72D297353CC}">
              <c16:uniqueId val="{0000000B-8EA1-DF43-B852-EE3831ACC46A}"/>
            </c:ext>
          </c:extLst>
        </c:ser>
        <c:ser>
          <c:idx val="1"/>
          <c:order val="1"/>
          <c:tx>
            <c:strRef>
              <c:f>Sheet1!$A$3</c:f>
              <c:strCache>
                <c:ptCount val="1"/>
                <c:pt idx="0">
                  <c:v>Exceeding Value Expectations</c:v>
                </c:pt>
              </c:strCache>
            </c:strRef>
          </c:tx>
          <c:spPr>
            <a:solidFill>
              <a:srgbClr val="009AD7"/>
            </a:solidFill>
            <a:ln w="19939">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L$1</c:f>
              <c:strCache>
                <c:ptCount val="11"/>
                <c:pt idx="0">
                  <c:v>Ensure legal and regulatory compliance (n = 39)</c:v>
                </c:pt>
                <c:pt idx="1">
                  <c:v>Ensure business continuity and resilience (n = 104)</c:v>
                </c:pt>
                <c:pt idx="2">
                  <c:v>Improve the employee experience (n = 58)</c:v>
                </c:pt>
                <c:pt idx="3">
                  <c:v>Reduce enterprise risks (n =77)</c:v>
                </c:pt>
                <c:pt idx="4">
                  <c:v>Introduce new products/services (n = 71)</c:v>
                </c:pt>
                <c:pt idx="5">
                  <c:v>Grow revenue (n = 99)</c:v>
                </c:pt>
                <c:pt idx="6">
                  <c:v>Improve the customer/citizen experience (n = 127)</c:v>
                </c:pt>
                <c:pt idx="7">
                  <c:v>Improve operational excellence (n = 199)</c:v>
                </c:pt>
                <c:pt idx="8">
                  <c:v>Increase innovation (n = 47)</c:v>
                </c:pt>
                <c:pt idx="9">
                  <c:v>Increase cost efficiency (n = 87)</c:v>
                </c:pt>
                <c:pt idx="10">
                  <c:v>Increase employee productivity (n = 115)</c:v>
                </c:pt>
              </c:strCache>
            </c:strRef>
          </c:cat>
          <c:val>
            <c:numRef>
              <c:f>Sheet1!$B$3:$L$3</c:f>
              <c:numCache>
                <c:formatCode>0%</c:formatCode>
                <c:ptCount val="11"/>
                <c:pt idx="0">
                  <c:v>0.51</c:v>
                </c:pt>
                <c:pt idx="1">
                  <c:v>0.47</c:v>
                </c:pt>
                <c:pt idx="2">
                  <c:v>0.45</c:v>
                </c:pt>
                <c:pt idx="3">
                  <c:v>0.44</c:v>
                </c:pt>
                <c:pt idx="4">
                  <c:v>0.41</c:v>
                </c:pt>
                <c:pt idx="5">
                  <c:v>0.39</c:v>
                </c:pt>
                <c:pt idx="6">
                  <c:v>0.39</c:v>
                </c:pt>
                <c:pt idx="7">
                  <c:v>0.38</c:v>
                </c:pt>
                <c:pt idx="8">
                  <c:v>0.36</c:v>
                </c:pt>
                <c:pt idx="9">
                  <c:v>0.33</c:v>
                </c:pt>
                <c:pt idx="10">
                  <c:v>0.3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C-8EA1-DF43-B852-EE3831ACC46A}"/>
            </c:ext>
          </c:extLst>
        </c:ser>
        <c:dLbls>
          <c:dLblPos val="ctr"/>
          <c:showLegendKey val="0"/>
          <c:showVal val="1"/>
          <c:showCatName val="0"/>
          <c:showSerName val="0"/>
          <c:showPercent val="0"/>
          <c:showBubbleSize val="0"/>
        </c:dLbls>
        <c:gapWidth val="50"/>
        <c:overlap val="100"/>
        <c:axId val="608107176"/>
        <c:axId val="605581384"/>
        <c:extLst xmlns:c16="http://schemas.microsoft.com/office/drawing/2014/chart" xmlns:c15="http://schemas.microsoft.com/office/drawing/2012/chart" xmlns:c14="http://schemas.microsoft.com/office/drawing/2007/8/2/chart" xmlns:mc="http://schemas.openxmlformats.org/markup-compatibility/2006"/>
      </c:barChart>
      <c:catAx>
        <c:axId val="608107176"/>
        <c:scaling>
          <c:orientation val="maxMin"/>
        </c:scaling>
        <c:delete val="0"/>
        <c:axPos val="l"/>
        <c:numFmt formatCode="General" sourceLinked="1"/>
        <c:majorTickMark val="none"/>
        <c:minorTickMark val="none"/>
        <c:tickLblPos val="none"/>
        <c:spPr>
          <a:noFill/>
          <a:ln w="19939" cap="flat" cmpd="sng" algn="ctr">
            <a:solidFill>
              <a:srgbClr val="6F7878"/>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0.4"/>
          <c:min val="-0.70000000000000007"/>
        </c:scaling>
        <c:delete val="0"/>
        <c:axPos val="b"/>
        <c:numFmt formatCode="0%" sourceLinked="1"/>
        <c:majorTickMark val="none"/>
        <c:minorTickMark val="none"/>
        <c:tickLblPos val="nextTo"/>
        <c:spPr>
          <a:noFill/>
          <a:ln w="25400">
            <a:solidFill>
              <a:srgbClr val="6F7878"/>
            </a:solid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5"/>
      </c:valAx>
      <c:spPr>
        <a:noFill/>
        <a:ln>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11122047244097E-2"/>
          <c:y val="0"/>
          <c:w val="0.93710137795275594"/>
          <c:h val="0.90548322676332849"/>
        </c:manualLayout>
      </c:layout>
      <c:barChart>
        <c:barDir val="bar"/>
        <c:grouping val="clustered"/>
        <c:varyColors val="0"/>
        <c:ser>
          <c:idx val="0"/>
          <c:order val="0"/>
          <c:tx>
            <c:strRef>
              <c:f>Sheet1!$A$2</c:f>
              <c:strCache>
                <c:ptCount val="1"/>
                <c:pt idx="0">
                  <c:v>Series 1</c:v>
                </c:pt>
              </c:strCache>
            </c:strRef>
          </c:tx>
          <c:spPr>
            <a:solidFill>
              <a:srgbClr val="002856"/>
            </a:solidFill>
            <a:ln w="12700">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Improve Operational Excellence</c:v>
                </c:pt>
                <c:pt idx="1">
                  <c:v>Improve the Customer (Or Citizen) Experience</c:v>
                </c:pt>
                <c:pt idx="2">
                  <c:v>Increase Employee Productivity</c:v>
                </c:pt>
                <c:pt idx="3">
                  <c:v>Ensure Business Continuity and Resilience</c:v>
                </c:pt>
                <c:pt idx="4">
                  <c:v>Grow Revenue</c:v>
                </c:pt>
                <c:pt idx="5">
                  <c:v>Increase Cost Efficiency</c:v>
                </c:pt>
                <c:pt idx="6">
                  <c:v>Reduce Enterprise Risks</c:v>
                </c:pt>
                <c:pt idx="7">
                  <c:v>Introduce New Products/Services</c:v>
                </c:pt>
                <c:pt idx="8">
                  <c:v>Improve the Employee Experience</c:v>
                </c:pt>
                <c:pt idx="9">
                  <c:v>Increase Innovation</c:v>
                </c:pt>
                <c:pt idx="10">
                  <c:v>Ensure Legal and Regulatory Compliance</c:v>
                </c:pt>
                <c:pt idx="11">
                  <c:v>Other</c:v>
                </c:pt>
              </c:strCache>
            </c:strRef>
          </c:cat>
          <c:val>
            <c:numRef>
              <c:f>Sheet1!$B$2:$M$2</c:f>
              <c:numCache>
                <c:formatCode>0%</c:formatCode>
                <c:ptCount val="12"/>
                <c:pt idx="0">
                  <c:v>0.56000000000000005</c:v>
                </c:pt>
                <c:pt idx="1">
                  <c:v>0.36</c:v>
                </c:pt>
                <c:pt idx="2">
                  <c:v>0.32</c:v>
                </c:pt>
                <c:pt idx="3">
                  <c:v>0.28999999999999998</c:v>
                </c:pt>
                <c:pt idx="4">
                  <c:v>0.28000000000000003</c:v>
                </c:pt>
                <c:pt idx="5">
                  <c:v>0.24</c:v>
                </c:pt>
                <c:pt idx="6">
                  <c:v>0.22</c:v>
                </c:pt>
                <c:pt idx="7">
                  <c:v>0.2</c:v>
                </c:pt>
                <c:pt idx="8">
                  <c:v>0.16</c:v>
                </c:pt>
                <c:pt idx="9">
                  <c:v>0.13</c:v>
                </c:pt>
                <c:pt idx="10">
                  <c:v>0.11</c:v>
                </c:pt>
                <c:pt idx="11">
                  <c:v>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0-0EC1-4907-B7C4-1A097195DC24}"/>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0.60000000000000009"/>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30000000000000004"/>
      </c:valAx>
      <c:spPr>
        <a:noFill/>
        <a:ln w="25400">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649921461951738E-2"/>
          <c:y val="3.45081777271204E-2"/>
          <c:w val="0.94080896992261154"/>
          <c:h val="0.76370787330810053"/>
        </c:manualLayout>
      </c:layout>
      <c:barChart>
        <c:barDir val="col"/>
        <c:grouping val="clustered"/>
        <c:varyColors val="0"/>
        <c:ser>
          <c:idx val="0"/>
          <c:order val="0"/>
          <c:tx>
            <c:strRef>
              <c:f>Sheet1!$A$2</c:f>
              <c:strCache>
                <c:ptCount val="1"/>
                <c:pt idx="0">
                  <c:v>Series 1</c:v>
                </c:pt>
              </c:strCache>
            </c:strRef>
          </c:tx>
          <c:spPr>
            <a:solidFill>
              <a:srgbClr val="002856"/>
            </a:solidFill>
            <a:ln w="12700">
              <a:solidFill>
                <a:schemeClr val="bg1"/>
              </a:solidFill>
            </a:ln>
            <a:effectLst/>
          </c:spPr>
          <c:invertIfNegative val="0"/>
          <c:dPt>
            <c:idx val="0"/>
            <c:invertIfNegative val="0"/>
            <c:bubble3D val="0"/>
            <c:spPr>
              <a:solidFill>
                <a:srgbClr val="009AD7"/>
              </a:solidFill>
              <a:ln w="12700">
                <a:solidFill>
                  <a:schemeClr val="bg1"/>
                </a:solidFill>
              </a:ln>
              <a:effectLst/>
            </c:spPr>
            <c:extLst>
              <c:ext xmlns:c16="http://schemas.microsoft.com/office/drawing/2014/chart" uri="{C3380CC4-5D6E-409C-BE32-E72D297353CC}">
                <c16:uniqueId val="{00000004-3F8D-F34A-8C80-D022B7C82A6B}"/>
              </c:ext>
            </c:extLst>
          </c:dPt>
          <c:dPt>
            <c:idx val="1"/>
            <c:invertIfNegative val="0"/>
            <c:bubble3D val="0"/>
            <c:spPr>
              <a:solidFill>
                <a:srgbClr val="009AD7"/>
              </a:solidFill>
              <a:ln w="12700">
                <a:solidFill>
                  <a:schemeClr val="bg1"/>
                </a:solidFill>
              </a:ln>
              <a:effectLst/>
            </c:spPr>
            <c:extLst>
              <c:ext xmlns:c16="http://schemas.microsoft.com/office/drawing/2014/chart" uri="{C3380CC4-5D6E-409C-BE32-E72D297353CC}">
                <c16:uniqueId val="{00000008-8195-224E-879E-30493E66E007}"/>
              </c:ext>
            </c:extLst>
          </c:dPt>
          <c:dPt>
            <c:idx val="3"/>
            <c:invertIfNegative val="0"/>
            <c:bubble3D val="0"/>
            <c:spPr>
              <a:solidFill>
                <a:srgbClr val="002856"/>
              </a:solidFill>
              <a:ln w="12700">
                <a:solidFill>
                  <a:schemeClr val="bg1"/>
                </a:solidFill>
              </a:ln>
              <a:effectLst/>
            </c:spPr>
            <c:extLst>
              <c:ext xmlns:c16="http://schemas.microsoft.com/office/drawing/2014/chart" uri="{C3380CC4-5D6E-409C-BE32-E72D297353CC}">
                <c16:uniqueId val="{00000001-7940-2B49-A6CF-0C2BBDC418C4}"/>
              </c:ext>
            </c:extLst>
          </c:dPt>
          <c:dPt>
            <c:idx val="4"/>
            <c:invertIfNegative val="0"/>
            <c:bubble3D val="0"/>
            <c:spPr>
              <a:solidFill>
                <a:srgbClr val="009AD7"/>
              </a:solidFill>
              <a:ln w="12700">
                <a:solidFill>
                  <a:schemeClr val="bg1"/>
                </a:solidFill>
              </a:ln>
              <a:effectLst/>
            </c:spPr>
            <c:extLst>
              <c:ext xmlns:c16="http://schemas.microsoft.com/office/drawing/2014/chart" uri="{C3380CC4-5D6E-409C-BE32-E72D297353CC}">
                <c16:uniqueId val="{00000005-3F8D-F34A-8C80-D022B7C82A6B}"/>
              </c:ext>
            </c:extLst>
          </c:dPt>
          <c:dPt>
            <c:idx val="5"/>
            <c:invertIfNegative val="0"/>
            <c:bubble3D val="0"/>
            <c:spPr>
              <a:solidFill>
                <a:srgbClr val="009AD7"/>
              </a:solidFill>
              <a:ln w="12700">
                <a:solidFill>
                  <a:schemeClr val="bg1"/>
                </a:solidFill>
              </a:ln>
              <a:effectLst/>
            </c:spPr>
            <c:extLst>
              <c:ext xmlns:c16="http://schemas.microsoft.com/office/drawing/2014/chart" uri="{C3380CC4-5D6E-409C-BE32-E72D297353CC}">
                <c16:uniqueId val="{00000003-7940-2B49-A6CF-0C2BBDC418C4}"/>
              </c:ext>
            </c:extLst>
          </c:dPt>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K$1</c:f>
              <c:strCache>
                <c:ptCount val="6"/>
                <c:pt idx="0">
                  <c:v>Growth</c:v>
                </c:pt>
                <c:pt idx="1">
                  <c:v>Corporate</c:v>
                </c:pt>
                <c:pt idx="2">
                  <c:v>Workforce</c:v>
                </c:pt>
                <c:pt idx="3">
                  <c:v>Technology Related</c:v>
                </c:pt>
                <c:pt idx="4">
                  <c:v>Financial</c:v>
                </c:pt>
                <c:pt idx="5">
                  <c:v>Cost Management</c:v>
                </c:pt>
              </c:strCache>
            </c:strRef>
          </c:cat>
          <c:val>
            <c:numRef>
              <c:f>Sheet1!$B$2:$K$2</c:f>
              <c:numCache>
                <c:formatCode>0%</c:formatCode>
                <c:ptCount val="6"/>
                <c:pt idx="0">
                  <c:v>0.55769230769230771</c:v>
                </c:pt>
                <c:pt idx="1">
                  <c:v>0.32692307692307693</c:v>
                </c:pt>
                <c:pt idx="2">
                  <c:v>0.30128205128205127</c:v>
                </c:pt>
                <c:pt idx="3">
                  <c:v>0.29487179487179488</c:v>
                </c:pt>
                <c:pt idx="4">
                  <c:v>0.20512820512820512</c:v>
                </c:pt>
                <c:pt idx="5">
                  <c:v>0.11538461538461538</c:v>
                </c:pt>
              </c:numCache>
            </c:numRef>
          </c:val>
          <c:extLst>
            <c:ext xmlns:c16="http://schemas.microsoft.com/office/drawing/2014/chart" uri="{C3380CC4-5D6E-409C-BE32-E72D297353CC}">
              <c16:uniqueId val="{00000008-7940-2B49-A6CF-0C2BBDC418C4}"/>
            </c:ext>
          </c:extLst>
        </c:ser>
        <c:dLbls>
          <c:dLblPos val="outEnd"/>
          <c:showLegendKey val="0"/>
          <c:showVal val="1"/>
          <c:showCatName val="0"/>
          <c:showSerName val="0"/>
          <c:showPercent val="0"/>
          <c:showBubbleSize val="0"/>
        </c:dLbls>
        <c:gapWidth val="70"/>
        <c:axId val="304391808"/>
        <c:axId val="304391416"/>
      </c:barChart>
      <c:catAx>
        <c:axId val="304391808"/>
        <c:scaling>
          <c:orientation val="minMax"/>
        </c:scaling>
        <c:delete val="0"/>
        <c:axPos val="b"/>
        <c:numFmt formatCode="General" sourceLinked="1"/>
        <c:majorTickMark val="none"/>
        <c:minorTickMark val="none"/>
        <c:tickLblPos val="nextTo"/>
        <c:spPr>
          <a:noFill/>
          <a:ln w="12700" cap="flat" cmpd="sng" algn="ctr">
            <a:solidFill>
              <a:srgbClr val="6F7878"/>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304391416"/>
        <c:crosses val="autoZero"/>
        <c:auto val="1"/>
        <c:lblAlgn val="ctr"/>
        <c:lblOffset val="0"/>
        <c:noMultiLvlLbl val="0"/>
      </c:catAx>
      <c:valAx>
        <c:axId val="304391416"/>
        <c:scaling>
          <c:orientation val="minMax"/>
          <c:max val="0.70000000000000007"/>
          <c:min val="0"/>
        </c:scaling>
        <c:delete val="0"/>
        <c:axPos val="l"/>
        <c:numFmt formatCode="0%" sourceLinked="0"/>
        <c:majorTickMark val="none"/>
        <c:minorTickMark val="none"/>
        <c:tickLblPos val="nextTo"/>
        <c:spPr>
          <a:noFill/>
          <a:ln w="12700">
            <a:solidFill>
              <a:srgbClr val="6F7878"/>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304391808"/>
        <c:crosses val="autoZero"/>
        <c:crossBetween val="between"/>
        <c:majorUnit val="0.35000000000000003"/>
      </c:valAx>
      <c:spPr>
        <a:noFill/>
        <a:ln>
          <a:noFill/>
        </a:ln>
        <a:effectLst/>
      </c:spPr>
    </c:plotArea>
    <c:plotVisOnly val="1"/>
    <c:dispBlanksAs val="gap"/>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091410701447226E-2"/>
          <c:y val="4.3538578175409348E-2"/>
          <c:w val="0.8964673187439709"/>
          <c:h val="0.92445674826792867"/>
        </c:manualLayout>
      </c:layout>
      <c:doughnutChart>
        <c:varyColors val="1"/>
        <c:ser>
          <c:idx val="0"/>
          <c:order val="0"/>
          <c:tx>
            <c:strRef>
              <c:f>Sheet1!$B$1</c:f>
              <c:strCache>
                <c:ptCount val="1"/>
                <c:pt idx="0">
                  <c:v>Assets</c:v>
                </c:pt>
              </c:strCache>
            </c:strRef>
          </c:tx>
          <c:spPr>
            <a:solidFill>
              <a:srgbClr val="002856"/>
            </a:solidFill>
            <a:ln w="12700"/>
          </c:spPr>
          <c:dPt>
            <c:idx val="0"/>
            <c:bubble3D val="0"/>
            <c:spPr>
              <a:solidFill>
                <a:srgbClr val="FF540A"/>
              </a:solidFill>
              <a:ln w="12700">
                <a:solidFill>
                  <a:schemeClr val="bg1"/>
                </a:solidFill>
              </a:ln>
              <a:effectLst/>
            </c:spPr>
            <c:extLst>
              <c:ext xmlns:c16="http://schemas.microsoft.com/office/drawing/2014/chart" uri="{C3380CC4-5D6E-409C-BE32-E72D297353CC}">
                <c16:uniqueId val="{00000001-48D9-2247-8D22-DA82EC6BCC25}"/>
              </c:ext>
            </c:extLst>
          </c:dPt>
          <c:dPt>
            <c:idx val="1"/>
            <c:bubble3D val="0"/>
            <c:spPr>
              <a:solidFill>
                <a:srgbClr val="002856"/>
              </a:solidFill>
              <a:ln w="12700">
                <a:solidFill>
                  <a:schemeClr val="lt1"/>
                </a:solidFill>
              </a:ln>
              <a:effectLst/>
            </c:spPr>
            <c:extLst>
              <c:ext xmlns:c16="http://schemas.microsoft.com/office/drawing/2014/chart" uri="{C3380CC4-5D6E-409C-BE32-E72D297353CC}">
                <c16:uniqueId val="{00000003-48D9-2247-8D22-DA82EC6BCC25}"/>
              </c:ext>
            </c:extLst>
          </c:dPt>
          <c:dPt>
            <c:idx val="2"/>
            <c:bubble3D val="0"/>
            <c:spPr>
              <a:solidFill>
                <a:srgbClr val="002856"/>
              </a:solidFill>
              <a:ln w="12700">
                <a:solidFill>
                  <a:schemeClr val="lt1"/>
                </a:solidFill>
              </a:ln>
              <a:effectLst/>
            </c:spPr>
            <c:extLst>
              <c:ext xmlns:c16="http://schemas.microsoft.com/office/drawing/2014/chart" uri="{C3380CC4-5D6E-409C-BE32-E72D297353CC}">
                <c16:uniqueId val="{00000005-48D9-2247-8D22-DA82EC6BCC25}"/>
              </c:ext>
            </c:extLst>
          </c:dPt>
          <c:dLbls>
            <c:delete val="1"/>
          </c:dLbls>
          <c:cat>
            <c:strRef>
              <c:f>Sheet1!$A$2:$A$4</c:f>
              <c:strCache>
                <c:ptCount val="3"/>
                <c:pt idx="0">
                  <c:v>1st Area</c:v>
                </c:pt>
                <c:pt idx="1">
                  <c:v>2nd Area</c:v>
                </c:pt>
                <c:pt idx="2">
                  <c:v>3rd Area</c:v>
                </c:pt>
              </c:strCache>
            </c:strRef>
          </c:cat>
          <c:val>
            <c:numRef>
              <c:f>Sheet1!$B$2:$B$4</c:f>
              <c:numCache>
                <c:formatCode>0%</c:formatCode>
                <c:ptCount val="3"/>
                <c:pt idx="0">
                  <c:v>0.79</c:v>
                </c:pt>
                <c:pt idx="1">
                  <c:v>0.16</c:v>
                </c:pt>
                <c:pt idx="2">
                  <c:v>0.04</c:v>
                </c:pt>
              </c:numCache>
            </c:numRef>
          </c:val>
          <c:extLst>
            <c:ext xmlns:c16="http://schemas.microsoft.com/office/drawing/2014/chart" uri="{C3380CC4-5D6E-409C-BE32-E72D297353CC}">
              <c16:uniqueId val="{0000000A-48D9-2247-8D22-DA82EC6BCC25}"/>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265692331599376E-2"/>
          <c:y val="3.1819660362967447E-2"/>
          <c:w val="0.94202994317048927"/>
          <c:h val="0.69583593165677649"/>
        </c:manualLayout>
      </c:layout>
      <c:barChart>
        <c:barDir val="col"/>
        <c:grouping val="clustered"/>
        <c:varyColors val="0"/>
        <c:ser>
          <c:idx val="2"/>
          <c:order val="0"/>
          <c:tx>
            <c:strRef>
              <c:f>Sheet1!$B$1</c:f>
              <c:strCache>
                <c:ptCount val="1"/>
                <c:pt idx="0">
                  <c:v>2020 (n=40)</c:v>
                </c:pt>
              </c:strCache>
            </c:strRef>
          </c:tx>
          <c:spPr>
            <a:solidFill>
              <a:srgbClr val="002856"/>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mbition</c:v>
                </c:pt>
                <c:pt idx="1">
                  <c:v>Design</c:v>
                </c:pt>
                <c:pt idx="2">
                  <c:v>Deliver</c:v>
                </c:pt>
                <c:pt idx="3">
                  <c:v>Scale</c:v>
                </c:pt>
                <c:pt idx="4">
                  <c:v>Refine</c:v>
                </c:pt>
                <c:pt idx="5">
                  <c:v>Not Applicable: 
We do not yet have a digital initiative</c:v>
                </c:pt>
              </c:strCache>
            </c:strRef>
          </c:cat>
          <c:val>
            <c:numRef>
              <c:f>Sheet1!$B$2:$B$7</c:f>
              <c:numCache>
                <c:formatCode>0%</c:formatCode>
                <c:ptCount val="6"/>
                <c:pt idx="0">
                  <c:v>0.05</c:v>
                </c:pt>
                <c:pt idx="1">
                  <c:v>0.15</c:v>
                </c:pt>
                <c:pt idx="2">
                  <c:v>0.22500000000000001</c:v>
                </c:pt>
                <c:pt idx="3">
                  <c:v>0.4</c:v>
                </c:pt>
                <c:pt idx="4">
                  <c:v>0.17499999999999999</c:v>
                </c:pt>
              </c:numCache>
            </c:numRef>
          </c:val>
          <c:extLst>
            <c:ext xmlns:c16="http://schemas.microsoft.com/office/drawing/2014/chart" uri="{C3380CC4-5D6E-409C-BE32-E72D297353CC}">
              <c16:uniqueId val="{00000000-7989-43C6-9036-875F1F1E659F}"/>
            </c:ext>
          </c:extLst>
        </c:ser>
        <c:ser>
          <c:idx val="1"/>
          <c:order val="1"/>
          <c:tx>
            <c:strRef>
              <c:f>Sheet1!$C$1</c:f>
              <c:strCache>
                <c:ptCount val="1"/>
                <c:pt idx="0">
                  <c:v>2021 (n=145)</c:v>
                </c:pt>
              </c:strCache>
            </c:strRef>
          </c:tx>
          <c:spPr>
            <a:solidFill>
              <a:srgbClr val="6A80A3"/>
            </a:solidFill>
            <a:ln>
              <a:solidFill>
                <a:srgbClr val="FFFFFF"/>
              </a:solidFill>
            </a:ln>
            <a:effectLst/>
          </c:spPr>
          <c:invertIfNegative val="0"/>
          <c:dLbls>
            <c:dLbl>
              <c:idx val="4"/>
              <c:layout>
                <c:manualLayout>
                  <c:x val="-2.2528867106647752E-3"/>
                  <c:y val="1.6022549495257647E-7"/>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4.2833052934677637E-2"/>
                      <c:h val="7.6175213675213696E-2"/>
                    </c:manualLayout>
                  </c15:layout>
                </c:ext>
                <c:ext xmlns:c16="http://schemas.microsoft.com/office/drawing/2014/chart" uri="{C3380CC4-5D6E-409C-BE32-E72D297353CC}">
                  <c16:uniqueId val="{00000002-B6C9-BE48-BFFB-2B0A2A028AB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mbition</c:v>
                </c:pt>
                <c:pt idx="1">
                  <c:v>Design</c:v>
                </c:pt>
                <c:pt idx="2">
                  <c:v>Deliver</c:v>
                </c:pt>
                <c:pt idx="3">
                  <c:v>Scale</c:v>
                </c:pt>
                <c:pt idx="4">
                  <c:v>Refine</c:v>
                </c:pt>
                <c:pt idx="5">
                  <c:v>Not Applicable: 
We do not yet have a digital initiative</c:v>
                </c:pt>
              </c:strCache>
            </c:strRef>
          </c:cat>
          <c:val>
            <c:numRef>
              <c:f>Sheet1!$C$2:$C$7</c:f>
              <c:numCache>
                <c:formatCode>0%</c:formatCode>
                <c:ptCount val="6"/>
                <c:pt idx="0">
                  <c:v>0.14482758620689654</c:v>
                </c:pt>
                <c:pt idx="1">
                  <c:v>0.11724137931034483</c:v>
                </c:pt>
                <c:pt idx="2">
                  <c:v>0.1793103448275862</c:v>
                </c:pt>
                <c:pt idx="3">
                  <c:v>0.29655172413793102</c:v>
                </c:pt>
                <c:pt idx="4">
                  <c:v>0.24137931034482757</c:v>
                </c:pt>
                <c:pt idx="5">
                  <c:v>2.0689655172413789E-2</c:v>
                </c:pt>
              </c:numCache>
            </c:numRef>
          </c:val>
          <c:extLst>
            <c:ext xmlns:c16="http://schemas.microsoft.com/office/drawing/2014/chart" uri="{C3380CC4-5D6E-409C-BE32-E72D297353CC}">
              <c16:uniqueId val="{00000001-7989-43C6-9036-875F1F1E659F}"/>
            </c:ext>
          </c:extLst>
        </c:ser>
        <c:ser>
          <c:idx val="0"/>
          <c:order val="2"/>
          <c:tx>
            <c:strRef>
              <c:f>Sheet1!$D$1</c:f>
              <c:strCache>
                <c:ptCount val="1"/>
                <c:pt idx="0">
                  <c:v>2022 (n=106)</c:v>
                </c:pt>
              </c:strCache>
            </c:strRef>
          </c:tx>
          <c:spPr>
            <a:solidFill>
              <a:srgbClr val="009AD7"/>
            </a:solidFill>
            <a:ln>
              <a:solidFill>
                <a:srgbClr val="FFFFFF"/>
              </a:solidFill>
            </a:ln>
            <a:effectLst/>
          </c:spPr>
          <c:invertIfNegative val="0"/>
          <c:dLbls>
            <c:dLbl>
              <c:idx val="4"/>
              <c:layout>
                <c:manualLayout>
                  <c:x val="0"/>
                  <c:y val="1.627891028718180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6C9-BE48-BFFB-2B0A2A028AB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mbition</c:v>
                </c:pt>
                <c:pt idx="1">
                  <c:v>Design</c:v>
                </c:pt>
                <c:pt idx="2">
                  <c:v>Deliver</c:v>
                </c:pt>
                <c:pt idx="3">
                  <c:v>Scale</c:v>
                </c:pt>
                <c:pt idx="4">
                  <c:v>Refine</c:v>
                </c:pt>
                <c:pt idx="5">
                  <c:v>Not Applicable: 
We do not yet have a digital initiative</c:v>
                </c:pt>
              </c:strCache>
            </c:strRef>
          </c:cat>
          <c:val>
            <c:numRef>
              <c:f>Sheet1!$D$2:$D$7</c:f>
              <c:numCache>
                <c:formatCode>0%</c:formatCode>
                <c:ptCount val="6"/>
                <c:pt idx="0">
                  <c:v>0.17924528301886791</c:v>
                </c:pt>
                <c:pt idx="1">
                  <c:v>7.5471698113207544E-2</c:v>
                </c:pt>
                <c:pt idx="2">
                  <c:v>0.16037735849056603</c:v>
                </c:pt>
                <c:pt idx="3">
                  <c:v>0.26415094339622641</c:v>
                </c:pt>
                <c:pt idx="4">
                  <c:v>0.32075471698113206</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2-7989-43C6-9036-875F1F1E659F}"/>
            </c:ext>
          </c:extLst>
        </c:ser>
        <c:ser>
          <c:idx val="3"/>
          <c:order val="3"/>
          <c:tx>
            <c:strRef>
              <c:f>Sheet1!$E$1</c:f>
              <c:strCache>
                <c:ptCount val="1"/>
                <c:pt idx="0">
                  <c:v>2023 (n=57)</c:v>
                </c:pt>
              </c:strCache>
            </c:strRef>
          </c:tx>
          <c:spPr>
            <a:solidFill>
              <a:srgbClr val="91DCF8"/>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mbition</c:v>
                </c:pt>
                <c:pt idx="1">
                  <c:v>Design</c:v>
                </c:pt>
                <c:pt idx="2">
                  <c:v>Deliver</c:v>
                </c:pt>
                <c:pt idx="3">
                  <c:v>Scale</c:v>
                </c:pt>
                <c:pt idx="4">
                  <c:v>Refine</c:v>
                </c:pt>
                <c:pt idx="5">
                  <c:v>Not Applicable: 
We do not yet have a digital initiative</c:v>
                </c:pt>
              </c:strCache>
            </c:strRef>
          </c:cat>
          <c:val>
            <c:numRef>
              <c:f>Sheet1!$E$2:$E$7</c:f>
              <c:numCache>
                <c:formatCode>0%</c:formatCode>
                <c:ptCount val="6"/>
                <c:pt idx="0">
                  <c:v>0.15789473684210525</c:v>
                </c:pt>
                <c:pt idx="1">
                  <c:v>7.0175438596491224E-2</c:v>
                </c:pt>
                <c:pt idx="2">
                  <c:v>0.10526315789473684</c:v>
                </c:pt>
                <c:pt idx="3">
                  <c:v>0.24561403508771928</c:v>
                </c:pt>
                <c:pt idx="4">
                  <c:v>0.42105263157894735</c:v>
                </c:pt>
              </c:numCache>
            </c:numRef>
          </c:val>
          <c:extLst>
            <c:ext xmlns:c16="http://schemas.microsoft.com/office/drawing/2014/chart" uri="{C3380CC4-5D6E-409C-BE32-E72D297353CC}">
              <c16:uniqueId val="{00000003-7989-43C6-9036-875F1F1E659F}"/>
            </c:ext>
          </c:extLst>
        </c:ser>
        <c:dLbls>
          <c:dLblPos val="outEnd"/>
          <c:showLegendKey val="0"/>
          <c:showVal val="1"/>
          <c:showCatName val="0"/>
          <c:showSerName val="0"/>
          <c:showPercent val="0"/>
          <c:showBubbleSize val="0"/>
        </c:dLbls>
        <c:gapWidth val="76"/>
        <c:axId val="258671096"/>
        <c:axId val="258671880"/>
      </c:barChart>
      <c:catAx>
        <c:axId val="258671096"/>
        <c:scaling>
          <c:orientation val="minMax"/>
        </c:scaling>
        <c:delete val="0"/>
        <c:axPos val="b"/>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mn-cs"/>
              </a:defRPr>
            </a:pPr>
            <a:endParaRPr lang="en-US"/>
          </a:p>
        </c:txPr>
        <c:crossAx val="258671880"/>
        <c:crosses val="autoZero"/>
        <c:auto val="1"/>
        <c:lblAlgn val="ctr"/>
        <c:lblOffset val="100"/>
        <c:noMultiLvlLbl val="0"/>
      </c:catAx>
      <c:valAx>
        <c:axId val="258671880"/>
        <c:scaling>
          <c:orientation val="minMax"/>
          <c:max val="0.60000000000000009"/>
        </c:scaling>
        <c:delete val="0"/>
        <c:axPos val="l"/>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mn-cs"/>
              </a:defRPr>
            </a:pPr>
            <a:endParaRPr lang="en-US"/>
          </a:p>
        </c:txPr>
        <c:crossAx val="258671096"/>
        <c:crosses val="autoZero"/>
        <c:crossBetween val="between"/>
        <c:majorUnit val="0.30000000000000004"/>
      </c:valAx>
      <c:spPr>
        <a:noFill/>
        <a:ln>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222575845683967"/>
          <c:y val="3.1688426767166926E-2"/>
          <c:w val="0.55504511975035731"/>
          <c:h val="0.88033318751822687"/>
        </c:manualLayout>
      </c:layout>
      <c:barChart>
        <c:barDir val="bar"/>
        <c:grouping val="clustered"/>
        <c:varyColors val="0"/>
        <c:ser>
          <c:idx val="0"/>
          <c:order val="0"/>
          <c:tx>
            <c:strRef>
              <c:f>Sheet1!$B$1</c:f>
              <c:strCache>
                <c:ptCount val="1"/>
                <c:pt idx="0">
                  <c:v>2023 (n=57)</c:v>
                </c:pt>
              </c:strCache>
            </c:strRef>
          </c:tx>
          <c:spPr>
            <a:solidFill>
              <a:srgbClr val="002856"/>
            </a:solidFill>
            <a:ln w="12700">
              <a:solidFill>
                <a:srgbClr val="FFFFFF"/>
              </a:solid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5"/>
                <c:pt idx="0">
                  <c:v>Digital Tech Initiatives (including Technologies/ IT)</c:v>
                </c:pt>
                <c:pt idx="1">
                  <c:v>Workforce (e.g. retention, training, hiring etc.)</c:v>
                </c:pt>
                <c:pt idx="2">
                  <c:v>Business Expansion/ Diversification</c:v>
                </c:pt>
                <c:pt idx="3">
                  <c:v>Financial (other than revenue or profit)</c:v>
                </c:pt>
                <c:pt idx="4">
                  <c:v>Efficiency and Productivity</c:v>
                </c:pt>
              </c:strCache>
              <c:extLst/>
            </c:strRef>
          </c:cat>
          <c:val>
            <c:numRef>
              <c:f>Sheet1!$B$2:$B$16</c:f>
              <c:numCache>
                <c:formatCode>0%</c:formatCode>
                <c:ptCount val="5"/>
                <c:pt idx="0">
                  <c:v>0.59649122807017541</c:v>
                </c:pt>
                <c:pt idx="1">
                  <c:v>0.56140350877192979</c:v>
                </c:pt>
                <c:pt idx="2">
                  <c:v>0.42105263157894735</c:v>
                </c:pt>
                <c:pt idx="3">
                  <c:v>0.26315789473684209</c:v>
                </c:pt>
                <c:pt idx="4">
                  <c:v>0.22807017543859648</c:v>
                </c:pt>
              </c:numCache>
              <c:extLst/>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30-4265-9661-F9D35B7D4FF6}"/>
            </c:ext>
          </c:extLst>
        </c:ser>
        <c:ser>
          <c:idx val="1"/>
          <c:order val="1"/>
          <c:tx>
            <c:strRef>
              <c:f>Sheet1!$C$1</c:f>
              <c:strCache>
                <c:ptCount val="1"/>
                <c:pt idx="0">
                  <c:v>2022 (n=105)</c:v>
                </c:pt>
              </c:strCache>
            </c:strRef>
          </c:tx>
          <c:spPr>
            <a:solidFill>
              <a:srgbClr val="009AD7"/>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5"/>
                <c:pt idx="0">
                  <c:v>Digital Tech Initiatives (including Technologies/ IT)</c:v>
                </c:pt>
                <c:pt idx="1">
                  <c:v>Workforce (e.g. retention, training, hiring etc.)</c:v>
                </c:pt>
                <c:pt idx="2">
                  <c:v>Business Expansion/ Diversification</c:v>
                </c:pt>
                <c:pt idx="3">
                  <c:v>Financial (other than revenue or profit)</c:v>
                </c:pt>
                <c:pt idx="4">
                  <c:v>Efficiency and Productivity</c:v>
                </c:pt>
              </c:strCache>
              <c:extLst/>
            </c:strRef>
          </c:cat>
          <c:val>
            <c:numRef>
              <c:f>Sheet1!$C$2:$C$16</c:f>
              <c:numCache>
                <c:formatCode>0%</c:formatCode>
                <c:ptCount val="5"/>
                <c:pt idx="0">
                  <c:v>0.50476190476190474</c:v>
                </c:pt>
                <c:pt idx="1">
                  <c:v>0.49</c:v>
                </c:pt>
                <c:pt idx="2">
                  <c:v>0.25714285714285712</c:v>
                </c:pt>
                <c:pt idx="3">
                  <c:v>0.25714285714285712</c:v>
                </c:pt>
                <c:pt idx="4">
                  <c:v>0.12380952380952381</c:v>
                </c:pt>
              </c:numCache>
              <c:extLst/>
            </c:numRef>
          </c:val>
          <c:extLst>
            <c:ext xmlns:c16="http://schemas.microsoft.com/office/drawing/2014/chart" uri="{C3380CC4-5D6E-409C-BE32-E72D297353CC}">
              <c16:uniqueId val="{00000004-8430-4265-9661-F9D35B7D4FF6}"/>
            </c:ext>
          </c:extLst>
        </c:ser>
        <c:dLbls>
          <c:dLblPos val="outEnd"/>
          <c:showLegendKey val="0"/>
          <c:showVal val="1"/>
          <c:showCatName val="0"/>
          <c:showSerName val="0"/>
          <c:showPercent val="0"/>
          <c:showBubbleSize val="0"/>
        </c:dLbls>
        <c:gapWidth val="50"/>
        <c:axId val="263825408"/>
        <c:axId val="263829328"/>
      </c:barChart>
      <c:catAx>
        <c:axId val="263825408"/>
        <c:scaling>
          <c:orientation val="maxMin"/>
        </c:scaling>
        <c:delete val="0"/>
        <c:axPos val="l"/>
        <c:numFmt formatCode="General" sourceLinked="1"/>
        <c:majorTickMark val="none"/>
        <c:minorTickMark val="none"/>
        <c:tickLblPos val="nextTo"/>
        <c:spPr>
          <a:noFill/>
          <a:ln w="19939" cap="flat" cmpd="sng" algn="ctr">
            <a:solidFill>
              <a:srgbClr val="6F7878"/>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Arial" panose="020B0604020202020204" pitchFamily="34" charset="0"/>
                <a:ea typeface="+mn-ea"/>
                <a:cs typeface="+mn-cs"/>
              </a:defRPr>
            </a:pPr>
            <a:endParaRPr lang="en-US"/>
          </a:p>
        </c:txPr>
        <c:crossAx val="263829328"/>
        <c:crosses val="autoZero"/>
        <c:auto val="1"/>
        <c:lblAlgn val="ctr"/>
        <c:lblOffset val="100"/>
        <c:noMultiLvlLbl val="0"/>
      </c:catAx>
      <c:valAx>
        <c:axId val="263829328"/>
        <c:scaling>
          <c:orientation val="minMax"/>
          <c:max val="0.70000000000000007"/>
        </c:scaling>
        <c:delete val="0"/>
        <c:axPos val="b"/>
        <c:numFmt formatCode="0%" sourceLinked="1"/>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mn-cs"/>
              </a:defRPr>
            </a:pPr>
            <a:endParaRPr lang="en-US"/>
          </a:p>
        </c:txPr>
        <c:crossAx val="263825408"/>
        <c:crosses val="max"/>
        <c:crossBetween val="between"/>
        <c:majorUnit val="0.35000000000000003"/>
      </c:valAx>
      <c:spPr>
        <a:noFill/>
        <a:ln>
          <a:noFill/>
        </a:ln>
        <a:effectLst/>
      </c:spPr>
    </c:plotArea>
    <c:plotVisOnly val="1"/>
    <c:dispBlanksAs val="gap"/>
    <c:showDLblsOverMax val="0"/>
  </c:chart>
  <c:spPr>
    <a:noFill/>
    <a:ln>
      <a:noFill/>
    </a:ln>
    <a:effectLst/>
  </c:spPr>
  <c:txPr>
    <a:bodyPr/>
    <a:lstStyle/>
    <a:p>
      <a:pPr>
        <a:defRPr sz="1600">
          <a:solidFill>
            <a:schemeClr val="tx1"/>
          </a:solidFill>
          <a:latin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071876129285156E-2"/>
          <c:y val="2.7354048152970975E-2"/>
          <c:w val="0.91361879620498943"/>
          <c:h val="0.96113202066722936"/>
        </c:manualLayout>
      </c:layout>
      <c:doughnutChart>
        <c:varyColors val="1"/>
        <c:ser>
          <c:idx val="0"/>
          <c:order val="0"/>
          <c:tx>
            <c:strRef>
              <c:f>Sheet1!$B$1</c:f>
              <c:strCache>
                <c:ptCount val="1"/>
                <c:pt idx="0">
                  <c:v>Series 1</c:v>
                </c:pt>
              </c:strCache>
            </c:strRef>
          </c:tx>
          <c:spPr>
            <a:solidFill>
              <a:srgbClr val="002856"/>
            </a:solidFill>
            <a:ln w="12700">
              <a:solidFill>
                <a:srgbClr val="FFFFFF"/>
              </a:solidFill>
            </a:ln>
          </c:spPr>
          <c:dPt>
            <c:idx val="0"/>
            <c:bubble3D val="0"/>
            <c:extLst>
              <c:ext xmlns:c16="http://schemas.microsoft.com/office/drawing/2014/chart" uri="{C3380CC4-5D6E-409C-BE32-E72D297353CC}">
                <c16:uniqueId val="{00000001-0721-4DB2-A3A9-8C5E2C8CB4A1}"/>
              </c:ext>
            </c:extLst>
          </c:dPt>
          <c:dPt>
            <c:idx val="1"/>
            <c:bubble3D val="0"/>
            <c:spPr>
              <a:solidFill>
                <a:srgbClr val="009AD7"/>
              </a:solidFill>
              <a:ln w="12700">
                <a:solidFill>
                  <a:srgbClr val="FFFFFF"/>
                </a:solidFill>
              </a:ln>
            </c:spPr>
            <c:extLst>
              <c:ext xmlns:c16="http://schemas.microsoft.com/office/drawing/2014/chart" uri="{C3380CC4-5D6E-409C-BE32-E72D297353CC}">
                <c16:uniqueId val="{00000000-2E01-4251-A775-91AE4385D8F1}"/>
              </c:ext>
            </c:extLst>
          </c:dPt>
          <c:dPt>
            <c:idx val="2"/>
            <c:bubble3D val="0"/>
            <c:spPr>
              <a:solidFill>
                <a:srgbClr val="009AD7"/>
              </a:solidFill>
              <a:ln w="12700">
                <a:solidFill>
                  <a:srgbClr val="FFFFFF"/>
                </a:solidFill>
              </a:ln>
            </c:spPr>
            <c:extLst>
              <c:ext xmlns:c16="http://schemas.microsoft.com/office/drawing/2014/chart" uri="{C3380CC4-5D6E-409C-BE32-E72D297353CC}">
                <c16:uniqueId val="{00000001-2E01-4251-A775-91AE4385D8F1}"/>
              </c:ext>
            </c:extLst>
          </c:dPt>
          <c:dPt>
            <c:idx val="3"/>
            <c:bubble3D val="0"/>
            <c:spPr>
              <a:solidFill>
                <a:srgbClr val="009AD7"/>
              </a:solidFill>
              <a:ln w="12700">
                <a:solidFill>
                  <a:srgbClr val="FFFFFF"/>
                </a:solidFill>
              </a:ln>
            </c:spPr>
            <c:extLst>
              <c:ext xmlns:c16="http://schemas.microsoft.com/office/drawing/2014/chart" uri="{C3380CC4-5D6E-409C-BE32-E72D297353CC}">
                <c16:uniqueId val="{00000002-2E01-4251-A775-91AE4385D8F1}"/>
              </c:ext>
            </c:extLst>
          </c:dPt>
          <c:dPt>
            <c:idx val="4"/>
            <c:bubble3D val="0"/>
            <c:extLst>
              <c:ext xmlns:c16="http://schemas.microsoft.com/office/drawing/2014/chart" uri="{C3380CC4-5D6E-409C-BE32-E72D297353CC}">
                <c16:uniqueId val="{00000009-0721-4DB2-A3A9-8C5E2C8CB4A1}"/>
              </c:ext>
            </c:extLst>
          </c:dPt>
          <c:dLbls>
            <c:delete val="1"/>
          </c:dLbls>
          <c:cat>
            <c:strRef>
              <c:f>Sheet1!$A$2:$A$6</c:f>
              <c:strCache>
                <c:ptCount val="5"/>
                <c:pt idx="0">
                  <c:v>No</c:v>
                </c:pt>
                <c:pt idx="1">
                  <c:v>Yes - in the next 3 months</c:v>
                </c:pt>
                <c:pt idx="2">
                  <c:v>Yes - in 3-12 months</c:v>
                </c:pt>
                <c:pt idx="3">
                  <c:v>Yes - in 12-18 months</c:v>
                </c:pt>
                <c:pt idx="4">
                  <c:v>Don’t know/unsure</c:v>
                </c:pt>
              </c:strCache>
            </c:strRef>
          </c:cat>
          <c:val>
            <c:numRef>
              <c:f>Sheet1!$B$2:$B$6</c:f>
              <c:numCache>
                <c:formatCode>0%</c:formatCode>
                <c:ptCount val="5"/>
                <c:pt idx="0">
                  <c:v>0.2</c:v>
                </c:pt>
                <c:pt idx="1">
                  <c:v>7.4999999999999997E-2</c:v>
                </c:pt>
                <c:pt idx="2">
                  <c:v>0.3125</c:v>
                </c:pt>
                <c:pt idx="3">
                  <c:v>6.25E-2</c:v>
                </c:pt>
                <c:pt idx="4">
                  <c:v>0.35</c:v>
                </c:pt>
              </c:numCache>
            </c:numRef>
          </c:val>
          <c:extLst>
            <c:ext xmlns:c16="http://schemas.microsoft.com/office/drawing/2014/chart" uri="{C3380CC4-5D6E-409C-BE32-E72D297353CC}">
              <c16:uniqueId val="{00000000-80D5-49CB-AB4A-6E08ED24A839}"/>
            </c:ext>
          </c:extLst>
        </c:ser>
        <c:dLbls>
          <c:showLegendKey val="0"/>
          <c:showVal val="1"/>
          <c:showCatName val="0"/>
          <c:showSerName val="0"/>
          <c:showPercent val="0"/>
          <c:showBubbleSize val="0"/>
          <c:showLeaderLines val="1"/>
        </c:dLbls>
        <c:firstSliceAng val="287"/>
        <c:holeSize val="50"/>
      </c:doughnutChart>
      <c:spPr>
        <a:noFill/>
        <a:extLst>
          <a:ext uri="{909E8E84-426E-40DD-AFC4-6F175D3DCCD1}">
            <a14:hiddenFill xmlns:a14="http://schemas.microsoft.com/office/drawing/2010/main">
              <a:noFill/>
            </a14:hiddenFill>
          </a:ext>
        </a:ex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defRPr sz="1200" b="0">
          <a:solidFill>
            <a:srgbClr val="000000"/>
          </a:solidFill>
          <a:latin typeface="Arial" panose="020B06040202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11887106896006332"/>
          <c:y val="1.9590643274853801E-2"/>
          <c:w val="0.57558926878119998"/>
          <c:h val="0.92512443079879192"/>
        </c:manualLayout>
      </c:layout>
      <c:lineChart>
        <c:grouping val="standard"/>
        <c:varyColors val="0"/>
        <c:ser>
          <c:idx val="0"/>
          <c:order val="0"/>
          <c:tx>
            <c:strRef>
              <c:f>Sheet1!$A$8:$B$8</c:f>
              <c:strCache>
                <c:ptCount val="2"/>
                <c:pt idx="0">
                  <c:v>IT</c:v>
                </c:pt>
                <c:pt idx="1">
                  <c:v>MSE (&lt; 1000 Employees)</c:v>
                </c:pt>
              </c:strCache>
            </c:strRef>
          </c:tx>
          <c:spPr>
            <a:ln w="25400">
              <a:solidFill>
                <a:srgbClr val="002856"/>
              </a:solidFill>
            </a:ln>
          </c:spPr>
          <c:marker>
            <c:symbol val="none"/>
          </c:marker>
          <c:cat>
            <c:strRef>
              <c:f>Sheet1!$C$7:$N$7</c:f>
              <c:strCache>
                <c:ptCount val="12"/>
                <c:pt idx="0">
                  <c:v>1Q20</c:v>
                </c:pt>
                <c:pt idx="1">
                  <c:v>2Q20</c:v>
                </c:pt>
                <c:pt idx="2">
                  <c:v>3Q20</c:v>
                </c:pt>
                <c:pt idx="3">
                  <c:v>4Q20</c:v>
                </c:pt>
                <c:pt idx="4">
                  <c:v>1Q21</c:v>
                </c:pt>
                <c:pt idx="5">
                  <c:v>2Q21</c:v>
                </c:pt>
                <c:pt idx="6">
                  <c:v>3Q21</c:v>
                </c:pt>
                <c:pt idx="7">
                  <c:v>4Q21</c:v>
                </c:pt>
                <c:pt idx="8">
                  <c:v>1Q22</c:v>
                </c:pt>
                <c:pt idx="9">
                  <c:v>2Q22</c:v>
                </c:pt>
                <c:pt idx="10">
                  <c:v>3Q22</c:v>
                </c:pt>
                <c:pt idx="11">
                  <c:v>4Q22</c:v>
                </c:pt>
              </c:strCache>
            </c:strRef>
          </c:cat>
          <c:val>
            <c:numRef>
              <c:f>Sheet1!$C$8:$N$8</c:f>
              <c:numCache>
                <c:formatCode>0.0%</c:formatCode>
                <c:ptCount val="12"/>
                <c:pt idx="0">
                  <c:v>0.2906486941870261</c:v>
                </c:pt>
                <c:pt idx="1">
                  <c:v>0.28733031674208143</c:v>
                </c:pt>
                <c:pt idx="2">
                  <c:v>0.28251121076233182</c:v>
                </c:pt>
                <c:pt idx="3">
                  <c:v>0.25689655172413794</c:v>
                </c:pt>
                <c:pt idx="4">
                  <c:v>0.30549199084668194</c:v>
                </c:pt>
                <c:pt idx="5">
                  <c:v>0.32915717539863321</c:v>
                </c:pt>
                <c:pt idx="6">
                  <c:v>0.2794279427942794</c:v>
                </c:pt>
                <c:pt idx="7">
                  <c:v>0.29660023446658851</c:v>
                </c:pt>
                <c:pt idx="8">
                  <c:v>0.34146341463414637</c:v>
                </c:pt>
                <c:pt idx="9">
                  <c:v>0.34</c:v>
                </c:pt>
                <c:pt idx="10">
                  <c:v>0.35303514376996803</c:v>
                </c:pt>
                <c:pt idx="11">
                  <c:v>0.3345132743362832</c:v>
                </c:pt>
              </c:numCache>
            </c:numRef>
          </c:val>
          <c:smooth val="0"/>
          <c:extLst>
            <c:ext xmlns:c16="http://schemas.microsoft.com/office/drawing/2014/chart" uri="{C3380CC4-5D6E-409C-BE32-E72D297353CC}">
              <c16:uniqueId val="{00000000-4708-F04D-A0A2-3133E5118296}"/>
            </c:ext>
          </c:extLst>
        </c:ser>
        <c:ser>
          <c:idx val="1"/>
          <c:order val="1"/>
          <c:tx>
            <c:strRef>
              <c:f>Sheet1!$A$9:$B$9</c:f>
              <c:strCache>
                <c:ptCount val="2"/>
                <c:pt idx="0">
                  <c:v>IT</c:v>
                </c:pt>
                <c:pt idx="1">
                  <c:v>LE (≥ 1000 Employees)</c:v>
                </c:pt>
              </c:strCache>
            </c:strRef>
          </c:tx>
          <c:spPr>
            <a:ln w="25400">
              <a:solidFill>
                <a:srgbClr val="FF540A"/>
              </a:solidFill>
            </a:ln>
          </c:spPr>
          <c:marker>
            <c:symbol val="none"/>
          </c:marker>
          <c:cat>
            <c:strRef>
              <c:f>Sheet1!$C$7:$N$7</c:f>
              <c:strCache>
                <c:ptCount val="12"/>
                <c:pt idx="0">
                  <c:v>1Q20</c:v>
                </c:pt>
                <c:pt idx="1">
                  <c:v>2Q20</c:v>
                </c:pt>
                <c:pt idx="2">
                  <c:v>3Q20</c:v>
                </c:pt>
                <c:pt idx="3">
                  <c:v>4Q20</c:v>
                </c:pt>
                <c:pt idx="4">
                  <c:v>1Q21</c:v>
                </c:pt>
                <c:pt idx="5">
                  <c:v>2Q21</c:v>
                </c:pt>
                <c:pt idx="6">
                  <c:v>3Q21</c:v>
                </c:pt>
                <c:pt idx="7">
                  <c:v>4Q21</c:v>
                </c:pt>
                <c:pt idx="8">
                  <c:v>1Q22</c:v>
                </c:pt>
                <c:pt idx="9">
                  <c:v>2Q22</c:v>
                </c:pt>
                <c:pt idx="10">
                  <c:v>3Q22</c:v>
                </c:pt>
                <c:pt idx="11">
                  <c:v>4Q22</c:v>
                </c:pt>
              </c:strCache>
            </c:strRef>
          </c:cat>
          <c:val>
            <c:numRef>
              <c:f>Sheet1!$C$9:$N$9</c:f>
              <c:numCache>
                <c:formatCode>0.0%</c:formatCode>
                <c:ptCount val="12"/>
                <c:pt idx="0">
                  <c:v>0.31910766246362754</c:v>
                </c:pt>
                <c:pt idx="1">
                  <c:v>0.34466911764705882</c:v>
                </c:pt>
                <c:pt idx="2">
                  <c:v>0.33875598086124403</c:v>
                </c:pt>
                <c:pt idx="3">
                  <c:v>0.3251231527093596</c:v>
                </c:pt>
                <c:pt idx="4">
                  <c:v>0.30665280665280664</c:v>
                </c:pt>
                <c:pt idx="5">
                  <c:v>0.32135523613963035</c:v>
                </c:pt>
                <c:pt idx="6">
                  <c:v>0.29216867469879521</c:v>
                </c:pt>
                <c:pt idx="7">
                  <c:v>0.28603104212860309</c:v>
                </c:pt>
                <c:pt idx="8">
                  <c:v>0.33059210526315785</c:v>
                </c:pt>
                <c:pt idx="9">
                  <c:v>0.30940834141610085</c:v>
                </c:pt>
                <c:pt idx="10">
                  <c:v>0.31897341888175984</c:v>
                </c:pt>
                <c:pt idx="11">
                  <c:v>0.29732313575525815</c:v>
                </c:pt>
              </c:numCache>
            </c:numRef>
          </c:val>
          <c:smooth val="0"/>
          <c:extLst>
            <c:ext xmlns:c16="http://schemas.microsoft.com/office/drawing/2014/chart" uri="{C3380CC4-5D6E-409C-BE32-E72D297353CC}">
              <c16:uniqueId val="{00000001-4708-F04D-A0A2-3133E5118296}"/>
            </c:ext>
          </c:extLst>
        </c:ser>
        <c:dLbls>
          <c:showLegendKey val="0"/>
          <c:showVal val="0"/>
          <c:showCatName val="0"/>
          <c:showSerName val="0"/>
          <c:showPercent val="0"/>
          <c:showBubbleSize val="0"/>
        </c:dLbls>
        <c:smooth val="0"/>
        <c:axId val="1395009744"/>
        <c:axId val="1394920128"/>
      </c:lineChart>
      <c:catAx>
        <c:axId val="1395009744"/>
        <c:scaling>
          <c:orientation val="minMax"/>
        </c:scaling>
        <c:delete val="0"/>
        <c:axPos val="b"/>
        <c:numFmt formatCode="General" sourceLinked="1"/>
        <c:majorTickMark val="none"/>
        <c:minorTickMark val="none"/>
        <c:tickLblPos val="none"/>
        <c:spPr>
          <a:noFill/>
          <a:ln w="12700" cap="flat" cmpd="sng" algn="ctr">
            <a:solidFill>
              <a:srgbClr val="6F7878"/>
            </a:solidFill>
            <a:prstDash val="solid"/>
            <a:round/>
          </a:ln>
          <a:effectLst/>
        </c:spPr>
        <c:crossAx val="1394920128"/>
        <c:crosses val="autoZero"/>
        <c:auto val="1"/>
        <c:lblAlgn val="ctr"/>
        <c:lblOffset val="100"/>
        <c:tickMarkSkip val="1"/>
        <c:noMultiLvlLbl val="0"/>
      </c:catAx>
      <c:valAx>
        <c:axId val="1394920128"/>
        <c:scaling>
          <c:orientation val="minMax"/>
          <c:max val="0.5"/>
        </c:scaling>
        <c:delete val="0"/>
        <c:axPos val="l"/>
        <c:numFmt formatCode="0%" sourceLinked="0"/>
        <c:majorTickMark val="none"/>
        <c:minorTickMark val="none"/>
        <c:tickLblPos val="nextTo"/>
        <c:spPr>
          <a:noFill/>
          <a:ln w="12700" cap="flat" cmpd="sng" algn="ctr">
            <a:solidFill>
              <a:srgbClr val="6F7878"/>
            </a:solidFill>
            <a:prstDash val="solid"/>
            <a:round/>
          </a:ln>
          <a:effectLst/>
        </c:spPr>
        <c:crossAx val="1395009744"/>
        <c:crosses val="autoZero"/>
        <c:crossBetween val="between"/>
        <c:majorUnit val="0.25"/>
      </c:valAx>
      <c:spPr>
        <a:noFill/>
        <a:extLst>
          <a:ext uri="{909E8E84-426E-40DD-AFC4-6F175D3DCCD1}">
            <a14:hiddenFill xmlns:a14="http://schemas.microsoft.com/office/drawing/2010/main">
              <a:noFill/>
            </a14:hiddenFill>
          </a:ext>
        </a:extLst>
      </c:spPr>
    </c:plotArea>
    <c:legend>
      <c:legendPos val="tr"/>
      <c:layout>
        <c:manualLayout>
          <c:xMode val="edge"/>
          <c:yMode val="edge"/>
          <c:x val="0.6907112406222462"/>
          <c:y val="1.1695906432748537E-2"/>
          <c:w val="0.30928875937775374"/>
          <c:h val="0.37393772752376936"/>
        </c:manualLayout>
      </c:layout>
      <c:overlay val="0"/>
      <c:txPr>
        <a:bodyPr/>
        <a:lstStyle/>
        <a:p>
          <a:pPr>
            <a:defRPr sz="14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defRPr sz="1600" b="0">
          <a:solidFill>
            <a:srgbClr val="000000"/>
          </a:solidFill>
          <a:latin typeface="Arial" panose="020B06040202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10955486472380423"/>
          <c:y val="1.9590643274853801E-2"/>
          <c:w val="0.57333511868808529"/>
          <c:h val="0.92512443079879192"/>
        </c:manualLayout>
      </c:layout>
      <c:lineChart>
        <c:grouping val="standard"/>
        <c:varyColors val="0"/>
        <c:ser>
          <c:idx val="0"/>
          <c:order val="0"/>
          <c:tx>
            <c:strRef>
              <c:f>Sheet1!$A$3:$B$3</c:f>
              <c:strCache>
                <c:ptCount val="2"/>
                <c:pt idx="0">
                  <c:v>Non-IT</c:v>
                </c:pt>
                <c:pt idx="1">
                  <c:v>MSE (&lt; 1000 employees)</c:v>
                </c:pt>
              </c:strCache>
            </c:strRef>
          </c:tx>
          <c:spPr>
            <a:ln w="25400">
              <a:solidFill>
                <a:srgbClr val="002856"/>
              </a:solidFill>
            </a:ln>
          </c:spPr>
          <c:marker>
            <c:symbol val="none"/>
          </c:marker>
          <c:cat>
            <c:strRef>
              <c:f>Sheet1!$C$2:$N$2</c:f>
              <c:strCache>
                <c:ptCount val="12"/>
                <c:pt idx="0">
                  <c:v>1Q20</c:v>
                </c:pt>
                <c:pt idx="1">
                  <c:v>2Q20</c:v>
                </c:pt>
                <c:pt idx="2">
                  <c:v>3Q20</c:v>
                </c:pt>
                <c:pt idx="3">
                  <c:v>4Q20</c:v>
                </c:pt>
                <c:pt idx="4">
                  <c:v>1Q21</c:v>
                </c:pt>
                <c:pt idx="5">
                  <c:v>2Q21</c:v>
                </c:pt>
                <c:pt idx="6">
                  <c:v>3Q21</c:v>
                </c:pt>
                <c:pt idx="7">
                  <c:v>4Q21</c:v>
                </c:pt>
                <c:pt idx="8">
                  <c:v>1Q22</c:v>
                </c:pt>
                <c:pt idx="9">
                  <c:v>2Q22</c:v>
                </c:pt>
                <c:pt idx="10">
                  <c:v>3Q22</c:v>
                </c:pt>
                <c:pt idx="11">
                  <c:v>4Q22</c:v>
                </c:pt>
              </c:strCache>
            </c:strRef>
          </c:cat>
          <c:val>
            <c:numRef>
              <c:f>Sheet1!$C$3:$N$3</c:f>
              <c:numCache>
                <c:formatCode>0.0%</c:formatCode>
                <c:ptCount val="12"/>
                <c:pt idx="0">
                  <c:v>0.39496286729092672</c:v>
                </c:pt>
                <c:pt idx="1">
                  <c:v>0.35593991807009556</c:v>
                </c:pt>
                <c:pt idx="2">
                  <c:v>0.39243117787376702</c:v>
                </c:pt>
                <c:pt idx="3">
                  <c:v>0.36538934527030359</c:v>
                </c:pt>
                <c:pt idx="4">
                  <c:v>0.41245098039215689</c:v>
                </c:pt>
                <c:pt idx="5">
                  <c:v>0.4007464885571162</c:v>
                </c:pt>
                <c:pt idx="6">
                  <c:v>0.40344281757024142</c:v>
                </c:pt>
                <c:pt idx="7">
                  <c:v>0.40493411275141189</c:v>
                </c:pt>
                <c:pt idx="8">
                  <c:v>0.42679162072767363</c:v>
                </c:pt>
                <c:pt idx="9">
                  <c:v>0.40953493310681671</c:v>
                </c:pt>
                <c:pt idx="10">
                  <c:v>0.42349520835576615</c:v>
                </c:pt>
                <c:pt idx="11">
                  <c:v>0.41963046032254619</c:v>
                </c:pt>
              </c:numCache>
            </c:numRef>
          </c:val>
          <c:smooth val="0"/>
          <c:extLst>
            <c:ext xmlns:c16="http://schemas.microsoft.com/office/drawing/2014/chart" uri="{C3380CC4-5D6E-409C-BE32-E72D297353CC}">
              <c16:uniqueId val="{00000000-AED0-DB4D-86FB-AE9890520ABB}"/>
            </c:ext>
          </c:extLst>
        </c:ser>
        <c:ser>
          <c:idx val="1"/>
          <c:order val="1"/>
          <c:tx>
            <c:strRef>
              <c:f>Sheet1!$A$4:$B$4</c:f>
              <c:strCache>
                <c:ptCount val="2"/>
                <c:pt idx="0">
                  <c:v>Non-IT</c:v>
                </c:pt>
                <c:pt idx="1">
                  <c:v>LE (≥ 1000 employees)</c:v>
                </c:pt>
              </c:strCache>
            </c:strRef>
          </c:tx>
          <c:spPr>
            <a:ln w="25400">
              <a:solidFill>
                <a:srgbClr val="FF540A"/>
              </a:solidFill>
            </a:ln>
          </c:spPr>
          <c:marker>
            <c:symbol val="none"/>
          </c:marker>
          <c:cat>
            <c:strRef>
              <c:f>Sheet1!$C$2:$N$2</c:f>
              <c:strCache>
                <c:ptCount val="12"/>
                <c:pt idx="0">
                  <c:v>1Q20</c:v>
                </c:pt>
                <c:pt idx="1">
                  <c:v>2Q20</c:v>
                </c:pt>
                <c:pt idx="2">
                  <c:v>3Q20</c:v>
                </c:pt>
                <c:pt idx="3">
                  <c:v>4Q20</c:v>
                </c:pt>
                <c:pt idx="4">
                  <c:v>1Q21</c:v>
                </c:pt>
                <c:pt idx="5">
                  <c:v>2Q21</c:v>
                </c:pt>
                <c:pt idx="6">
                  <c:v>3Q21</c:v>
                </c:pt>
                <c:pt idx="7">
                  <c:v>4Q21</c:v>
                </c:pt>
                <c:pt idx="8">
                  <c:v>1Q22</c:v>
                </c:pt>
                <c:pt idx="9">
                  <c:v>2Q22</c:v>
                </c:pt>
                <c:pt idx="10">
                  <c:v>3Q22</c:v>
                </c:pt>
                <c:pt idx="11">
                  <c:v>4Q22</c:v>
                </c:pt>
              </c:strCache>
            </c:strRef>
          </c:cat>
          <c:val>
            <c:numRef>
              <c:f>Sheet1!$C$4:$N$4</c:f>
              <c:numCache>
                <c:formatCode>0.0%</c:formatCode>
                <c:ptCount val="12"/>
                <c:pt idx="0">
                  <c:v>0.41120087635218405</c:v>
                </c:pt>
                <c:pt idx="1">
                  <c:v>0.38620120945574493</c:v>
                </c:pt>
                <c:pt idx="2">
                  <c:v>0.41167369901547118</c:v>
                </c:pt>
                <c:pt idx="3">
                  <c:v>0.39123581336696089</c:v>
                </c:pt>
                <c:pt idx="4">
                  <c:v>0.37614985783575849</c:v>
                </c:pt>
                <c:pt idx="5">
                  <c:v>0.38455093833780163</c:v>
                </c:pt>
                <c:pt idx="6">
                  <c:v>0.37307949231796927</c:v>
                </c:pt>
                <c:pt idx="7">
                  <c:v>0.37239921976592977</c:v>
                </c:pt>
                <c:pt idx="8">
                  <c:v>0.41038961038961042</c:v>
                </c:pt>
                <c:pt idx="9">
                  <c:v>0.396399012632496</c:v>
                </c:pt>
                <c:pt idx="10">
                  <c:v>0.39808735369683129</c:v>
                </c:pt>
                <c:pt idx="11">
                  <c:v>0.39786780383795312</c:v>
                </c:pt>
              </c:numCache>
            </c:numRef>
          </c:val>
          <c:smooth val="0"/>
          <c:extLst>
            <c:ext xmlns:c16="http://schemas.microsoft.com/office/drawing/2014/chart" uri="{C3380CC4-5D6E-409C-BE32-E72D297353CC}">
              <c16:uniqueId val="{00000001-AED0-DB4D-86FB-AE9890520ABB}"/>
            </c:ext>
          </c:extLst>
        </c:ser>
        <c:dLbls>
          <c:showLegendKey val="0"/>
          <c:showVal val="0"/>
          <c:showCatName val="0"/>
          <c:showSerName val="0"/>
          <c:showPercent val="0"/>
          <c:showBubbleSize val="0"/>
        </c:dLbls>
        <c:smooth val="0"/>
        <c:axId val="1361707648"/>
        <c:axId val="1437294528"/>
      </c:lineChart>
      <c:catAx>
        <c:axId val="1361707648"/>
        <c:scaling>
          <c:orientation val="minMax"/>
        </c:scaling>
        <c:delete val="0"/>
        <c:axPos val="b"/>
        <c:numFmt formatCode="General" sourceLinked="1"/>
        <c:majorTickMark val="none"/>
        <c:minorTickMark val="none"/>
        <c:tickLblPos val="none"/>
        <c:spPr>
          <a:noFill/>
          <a:ln w="12700" cap="flat" cmpd="sng" algn="ctr">
            <a:solidFill>
              <a:srgbClr val="6F7878"/>
            </a:solidFill>
            <a:prstDash val="solid"/>
            <a:round/>
          </a:ln>
          <a:effectLst/>
        </c:spPr>
        <c:crossAx val="1437294528"/>
        <c:crosses val="autoZero"/>
        <c:auto val="1"/>
        <c:lblAlgn val="ctr"/>
        <c:lblOffset val="100"/>
        <c:noMultiLvlLbl val="0"/>
      </c:catAx>
      <c:valAx>
        <c:axId val="1437294528"/>
        <c:scaling>
          <c:orientation val="minMax"/>
          <c:max val="0.5"/>
        </c:scaling>
        <c:delete val="0"/>
        <c:axPos val="l"/>
        <c:numFmt formatCode="0%" sourceLinked="0"/>
        <c:majorTickMark val="none"/>
        <c:minorTickMark val="none"/>
        <c:tickLblPos val="nextTo"/>
        <c:spPr>
          <a:noFill/>
          <a:ln w="12700" cap="flat" cmpd="sng" algn="ctr">
            <a:solidFill>
              <a:srgbClr val="6F7878"/>
            </a:solidFill>
            <a:prstDash val="solid"/>
            <a:round/>
          </a:ln>
          <a:effectLst/>
        </c:spPr>
        <c:crossAx val="1361707648"/>
        <c:crosses val="autoZero"/>
        <c:crossBetween val="between"/>
        <c:majorUnit val="0.25"/>
      </c:valAx>
      <c:spPr>
        <a:noFill/>
        <a:extLst>
          <a:ext uri="{909E8E84-426E-40DD-AFC4-6F175D3DCCD1}">
            <a14:hiddenFill xmlns:a14="http://schemas.microsoft.com/office/drawing/2010/main">
              <a:noFill/>
            </a14:hiddenFill>
          </a:ext>
        </a:extLst>
      </c:spPr>
    </c:plotArea>
    <c:legend>
      <c:legendPos val="tr"/>
      <c:layout>
        <c:manualLayout>
          <c:xMode val="edge"/>
          <c:yMode val="edge"/>
          <c:x val="0.68837028062967309"/>
          <c:y val="1.1695906432748537E-2"/>
          <c:w val="0.3116297193703268"/>
          <c:h val="0.34041745930883582"/>
        </c:manualLayout>
      </c:layout>
      <c:overlay val="0"/>
      <c:txPr>
        <a:bodyPr/>
        <a:lstStyle/>
        <a:p>
          <a:pPr>
            <a:defRPr sz="14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a:extLst>
      <a:ext uri="{91240B29-F687-4F45-9708-019B960494DF}">
        <a14:hiddenLine xmlns:a14="http://schemas.microsoft.com/office/drawing/2010/main" w="6350" cap="flat" cmpd="sng" algn="ctr">
          <a:noFill/>
          <a:prstDash val="solid"/>
          <a:miter lim="800000"/>
        </a14:hiddenLine>
      </a:ext>
    </a:extLst>
  </c:spPr>
  <c:txPr>
    <a:bodyPr/>
    <a:lstStyle/>
    <a:p>
      <a:pPr>
        <a:defRPr sz="1600" b="0">
          <a:solidFill>
            <a:srgbClr val="000000"/>
          </a:solidFill>
          <a:latin typeface="Arial" panose="020B06040202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48481681598117E-2"/>
          <c:y val="0"/>
          <c:w val="0.87324029270069203"/>
          <c:h val="0.90637985365728002"/>
        </c:manualLayout>
      </c:layout>
      <c:barChart>
        <c:barDir val="bar"/>
        <c:grouping val="clustered"/>
        <c:varyColors val="0"/>
        <c:ser>
          <c:idx val="0"/>
          <c:order val="0"/>
          <c:tx>
            <c:strRef>
              <c:f>Sheet1!$A$2</c:f>
              <c:strCache>
                <c:ptCount val="1"/>
                <c:pt idx="0">
                  <c:v>Series 1</c:v>
                </c:pt>
              </c:strCache>
            </c:strRef>
          </c:tx>
          <c:spPr>
            <a:solidFill>
              <a:srgbClr val="002856"/>
            </a:solidFill>
            <a:ln w="12700">
              <a:solidFill>
                <a:srgbClr val="FFFFFF"/>
              </a:solidFill>
            </a:ln>
            <a:effectLst/>
          </c:spPr>
          <c:invertIfNegative val="0"/>
          <c:dLbls>
            <c:numFmt formatCode="0%" sourceLinked="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K$1</c:f>
              <c:strCache>
                <c:ptCount val="10"/>
                <c:pt idx="0">
                  <c:v>Integrating the Digital Vision With Existing Enterprise-Level Strategies</c:v>
                </c:pt>
                <c:pt idx="1">
                  <c:v>Agreeing on a Shared Vision Across Different Parts of the Enterprise</c:v>
                </c:pt>
                <c:pt idx="2">
                  <c:v>Ensuring That Business Leaders Understand the Possibilities</c:v>
                </c:pt>
                <c:pt idx="3">
                  <c:v>Competing Expectations From Different Stakeholders</c:v>
                </c:pt>
                <c:pt idx="4">
                  <c:v>Developing a Clear Action Plan to Implement the Vision</c:v>
                </c:pt>
                <c:pt idx="5">
                  <c:v>Communicating the Vision to Leaders and Team Managers Across the Enterprise</c:v>
                </c:pt>
                <c:pt idx="6">
                  <c:v>Getting Input From Stakeholders Outside It</c:v>
                </c:pt>
                <c:pt idx="7">
                  <c:v>Other</c:v>
                </c:pt>
                <c:pt idx="8">
                  <c:v>None - My Enterprise Is Not Struggling With Developing a Vision for Digital Transformation</c:v>
                </c:pt>
                <c:pt idx="9">
                  <c:v>Not Applicable </c:v>
                </c:pt>
              </c:strCache>
            </c:strRef>
          </c:cat>
          <c:val>
            <c:numRef>
              <c:f>Sheet1!$B$2:$K$2</c:f>
              <c:numCache>
                <c:formatCode>0%</c:formatCode>
                <c:ptCount val="10"/>
                <c:pt idx="0">
                  <c:v>0.35</c:v>
                </c:pt>
                <c:pt idx="1">
                  <c:v>0.32</c:v>
                </c:pt>
                <c:pt idx="2">
                  <c:v>0.28000000000000003</c:v>
                </c:pt>
                <c:pt idx="3">
                  <c:v>0.23</c:v>
                </c:pt>
                <c:pt idx="4">
                  <c:v>0.23</c:v>
                </c:pt>
                <c:pt idx="5">
                  <c:v>0.18</c:v>
                </c:pt>
                <c:pt idx="6">
                  <c:v>0.17</c:v>
                </c:pt>
                <c:pt idx="7">
                  <c:v>0.05</c:v>
                </c:pt>
                <c:pt idx="8">
                  <c:v>0.04</c:v>
                </c:pt>
                <c:pt idx="9">
                  <c:v>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1B1B-4485-AE25-35BA1566BC99}"/>
            </c:ext>
          </c:extLst>
        </c:ser>
        <c:dLbls>
          <c:dLblPos val="outEnd"/>
          <c:showLegendKey val="0"/>
          <c:showVal val="1"/>
          <c:showCatName val="0"/>
          <c:showSerName val="0"/>
          <c:showPercent val="0"/>
          <c:showBubbleSize val="0"/>
        </c:dLbls>
        <c:gapWidth val="50"/>
        <c:axId val="608107176"/>
        <c:axId val="605581384"/>
      </c:barChart>
      <c:catAx>
        <c:axId val="608107176"/>
        <c:scaling>
          <c:orientation val="maxMin"/>
        </c:scaling>
        <c:delete val="0"/>
        <c:axPos val="l"/>
        <c:numFmt formatCode="General" sourceLinked="1"/>
        <c:majorTickMark val="none"/>
        <c:minorTickMark val="none"/>
        <c:tickLblPos val="none"/>
        <c:spPr>
          <a:noFill/>
          <a:ln w="19939" cap="flat" cmpd="sng" algn="ctr">
            <a:solidFill>
              <a:srgbClr val="6F7878"/>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Arial" panose="020B0604020202020204" pitchFamily="34" charset="0"/>
                <a:ea typeface="+mn-ea"/>
                <a:cs typeface="+mn-cs"/>
              </a:defRPr>
            </a:pPr>
            <a:endParaRPr lang="en-US"/>
          </a:p>
        </c:txPr>
        <c:crossAx val="605581384"/>
        <c:crosses val="autoZero"/>
        <c:auto val="1"/>
        <c:lblAlgn val="ctr"/>
        <c:lblOffset val="100"/>
        <c:noMultiLvlLbl val="0"/>
      </c:catAx>
      <c:valAx>
        <c:axId val="605581384"/>
        <c:scaling>
          <c:orientation val="minMax"/>
          <c:max val="0.5"/>
        </c:scaling>
        <c:delete val="0"/>
        <c:axPos val="b"/>
        <c:numFmt formatCode="0%" sourceLinked="0"/>
        <c:majorTickMark val="none"/>
        <c:minorTickMark val="none"/>
        <c:tickLblPos val="nextTo"/>
        <c:spPr>
          <a:noFill/>
          <a:ln w="19939">
            <a:solidFill>
              <a:srgbClr val="6F7878"/>
            </a:solidFill>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mn-cs"/>
              </a:defRPr>
            </a:pPr>
            <a:endParaRPr lang="en-US"/>
          </a:p>
        </c:txPr>
        <c:crossAx val="608107176"/>
        <c:crosses val="max"/>
        <c:crossBetween val="between"/>
        <c:majorUnit val="0.25"/>
      </c:valAx>
      <c:spPr>
        <a:noFill/>
        <a:ln>
          <a:noFill/>
        </a:ln>
        <a:effectLst/>
      </c:spPr>
    </c:plotArea>
    <c:plotVisOnly val="1"/>
    <c:dispBlanksAs val="gap"/>
    <c:showDLblsOverMax val="0"/>
  </c:chart>
  <c:spPr>
    <a:noFill/>
    <a:ln>
      <a:noFill/>
    </a:ln>
    <a:effectLst/>
  </c:spPr>
  <c:txPr>
    <a:bodyPr/>
    <a:lstStyle/>
    <a:p>
      <a:pPr>
        <a:defRPr sz="1600">
          <a:solidFill>
            <a:schemeClr val="tx1"/>
          </a:solidFill>
          <a:latin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26B98C-713B-4B72-A4D4-019F5DA80C9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DC270BE1-CA36-4E08-BA4E-AC3C07DBA58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662039D-F6B0-4B3D-87CD-5EA4BC8D3B27}" type="datetimeFigureOut">
              <a:rPr lang="en-US" smtClean="0"/>
              <a:t>9/26/2023</a:t>
            </a:fld>
            <a:endParaRPr lang="en-US" dirty="0"/>
          </a:p>
        </p:txBody>
      </p:sp>
      <p:sp>
        <p:nvSpPr>
          <p:cNvPr id="4" name="Footer Placeholder 3">
            <a:extLst>
              <a:ext uri="{FF2B5EF4-FFF2-40B4-BE49-F238E27FC236}">
                <a16:creationId xmlns:a16="http://schemas.microsoft.com/office/drawing/2014/main" id="{87346B8E-2606-4769-BF30-459644BE4BF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BEC229D-172E-43E4-8A96-CF0E11D3DD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3B6B68-6C65-4B67-BFEC-C9B9E8911328}" type="slidenum">
              <a:rPr lang="en-US" smtClean="0"/>
              <a:t>‹#›</a:t>
            </a:fld>
            <a:endParaRPr lang="en-US" dirty="0"/>
          </a:p>
        </p:txBody>
      </p:sp>
    </p:spTree>
    <p:extLst>
      <p:ext uri="{BB962C8B-B14F-4D97-AF65-F5344CB8AC3E}">
        <p14:creationId xmlns:p14="http://schemas.microsoft.com/office/powerpoint/2010/main" val="1730898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Notes Placeholder 4"/>
          <p:cNvSpPr>
            <a:spLocks noGrp="1"/>
          </p:cNvSpPr>
          <p:nvPr>
            <p:ph type="body" sz="quarter" idx="3"/>
          </p:nvPr>
        </p:nvSpPr>
        <p:spPr>
          <a:xfrm>
            <a:off x="246888" y="3134806"/>
            <a:ext cx="6373368" cy="569829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Image Placeholder 7">
            <a:extLst>
              <a:ext uri="{FF2B5EF4-FFF2-40B4-BE49-F238E27FC236}">
                <a16:creationId xmlns:a16="http://schemas.microsoft.com/office/drawing/2014/main" id="{EB9A72EB-8446-4162-8400-EAE51CA4B002}"/>
              </a:ext>
            </a:extLst>
          </p:cNvPr>
          <p:cNvSpPr>
            <a:spLocks noGrp="1" noRot="1" noChangeAspect="1"/>
          </p:cNvSpPr>
          <p:nvPr>
            <p:ph type="sldImg" idx="2"/>
          </p:nvPr>
        </p:nvSpPr>
        <p:spPr>
          <a:xfrm>
            <a:off x="1333500" y="658368"/>
            <a:ext cx="4191000" cy="2357438"/>
          </a:xfrm>
          <a:prstGeom prst="rect">
            <a:avLst/>
          </a:prstGeom>
          <a:noFill/>
          <a:ln w="12700">
            <a:solidFill>
              <a:prstClr val="black"/>
            </a:solidFill>
          </a:ln>
        </p:spPr>
        <p:txBody>
          <a:bodyPr vert="horz" lIns="91440" tIns="45720" rIns="91440" bIns="45720" rtlCol="0" anchor="ctr"/>
          <a:lstStyle/>
          <a:p>
            <a:endParaRPr lang="en-US" dirty="0"/>
          </a:p>
        </p:txBody>
      </p:sp>
      <p:sp>
        <p:nvSpPr>
          <p:cNvPr id="4" name="TextBox 3">
            <a:extLst>
              <a:ext uri="{FF2B5EF4-FFF2-40B4-BE49-F238E27FC236}">
                <a16:creationId xmlns:a16="http://schemas.microsoft.com/office/drawing/2014/main" id="{2DCDDD80-EA9B-4CAB-A8BB-A70361B20458}"/>
              </a:ext>
            </a:extLst>
          </p:cNvPr>
          <p:cNvSpPr txBox="1"/>
          <p:nvPr/>
        </p:nvSpPr>
        <p:spPr>
          <a:xfrm>
            <a:off x="246888" y="8980301"/>
            <a:ext cx="4547720" cy="92333"/>
          </a:xfrm>
          <a:prstGeom prst="rect">
            <a:avLst/>
          </a:prstGeom>
          <a:noFill/>
        </p:spPr>
        <p:txBody>
          <a:bodyPr wrap="none" lIns="0" tIns="0" rIns="0" bIns="0" rtlCol="0" anchor="b" anchorCtr="0">
            <a:spAutoFit/>
          </a:bodyPr>
          <a:lstStyle/>
          <a:p>
            <a:pPr marL="228600" indent="-228600"/>
            <a:fld id="{E1F39F5E-4058-4856-B2BD-0FDE5C1B6221}" type="slidenum">
              <a:rPr lang="en-US" sz="600" smtClean="0"/>
              <a:t>‹#›</a:t>
            </a:fld>
            <a:r>
              <a:rPr lang="en-US" sz="600" dirty="0"/>
              <a:t>	© 2023 Gartner, Inc. and/or its affiliates. All rights reserved. Gartner is a registered trademark of Gartner, Inc. or its affiliates..</a:t>
            </a:r>
          </a:p>
        </p:txBody>
      </p:sp>
      <p:sp>
        <p:nvSpPr>
          <p:cNvPr id="6" name="Text Box 86">
            <a:extLst>
              <a:ext uri="{FF2B5EF4-FFF2-40B4-BE49-F238E27FC236}">
                <a16:creationId xmlns:a16="http://schemas.microsoft.com/office/drawing/2014/main" id="{7C52E1A1-89C1-448D-9A45-C2FACD982C9C}"/>
              </a:ext>
            </a:extLst>
          </p:cNvPr>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Leadership Vision for 2023: Midsize Enterprise CIO</a:t>
            </a:r>
          </a:p>
        </p:txBody>
      </p:sp>
    </p:spTree>
    <p:extLst>
      <p:ext uri="{BB962C8B-B14F-4D97-AF65-F5344CB8AC3E}">
        <p14:creationId xmlns:p14="http://schemas.microsoft.com/office/powerpoint/2010/main" val="9223783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90000"/>
      </a:lnSpc>
      <a:spcAft>
        <a:spcPts val="600"/>
      </a:spcAft>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84227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e high demand for technology to enable strategic initiatives that drive business value is heavily dependent on technology staff. Competition for technology talent has always been difficult for MSEs. They typically do not compete well in the monetary aspects of employee attraction and retention (salary and benefits). Since 2020, staffing has endured the effects of the pandemic: Remote work, return to work, hybrid work and The Great Resignation, which saw many workers opting to stay out of the workforce, have all contributed to the staffing challenges an MSE CIO faces. Since 2020, less than half of all IT and non-IT employees across all revenue bands indicate a high intent to stay in their current jobs</a:t>
            </a:r>
            <a:r>
              <a:rPr lang="en-US" baseline="30000" dirty="0"/>
              <a:t>1</a:t>
            </a:r>
            <a:r>
              <a:rPr lang="en-US" dirty="0"/>
              <a:t>. IT employees were less likely to have high intent to stay, indicating stronger competition for technology talent. These numbers are slightly better than during the pandemic, but still present problems for MSE CIOs trying to keep up with the demand for technology.</a:t>
            </a:r>
            <a:br>
              <a:rPr lang="en-US" dirty="0"/>
            </a:br>
            <a:endParaRPr lang="en-US" dirty="0"/>
          </a:p>
          <a:p>
            <a:r>
              <a:rPr lang="en-US" dirty="0"/>
              <a:t>In addition, over 25% of MSE IT employees said that they were actively seeking another job1. MSE CIOs must purposefully consider their strategies for attracting and retaining staff, as well as their strategies for managing the work involved in delivering the technology their organizations need. Inasmuch as attracting and retaining talent is the first choice, MSE CIOs must have plans for building the skills of the staff they have. This not only addresses the need for skills. It also addresses employee satisfaction drivers such as development opportunities and future career opportunity. MSE CIOs must also have a managed services strategy where staffing may not be an option. Seventy-nine percent of MSE CIOs said that they are using, or planning to use, managed services for employees lost through </a:t>
            </a:r>
            <a:r>
              <a:rPr lang="en-US" dirty="0" err="1"/>
              <a:t>attrition</a:t>
            </a:r>
            <a:r>
              <a:rPr lang="en-US" baseline="30000" dirty="0" err="1"/>
              <a:t>2</a:t>
            </a:r>
            <a:r>
              <a:rPr lang="en-US" dirty="0"/>
              <a:t>.</a:t>
            </a:r>
          </a:p>
          <a:p>
            <a:r>
              <a:rPr lang="en-US" b="1" u="sng" dirty="0"/>
              <a:t>Recommended Reading</a:t>
            </a:r>
          </a:p>
          <a:p>
            <a:pPr marL="171450" indent="-171450">
              <a:buFont typeface="Arial" panose="020B0604020202020204" pitchFamily="34" charset="0"/>
              <a:buChar char="•"/>
            </a:pPr>
            <a:r>
              <a:rPr lang="en-US" dirty="0"/>
              <a:t>Midsize Enterprises Need a High-Performing, Business-Focused IT Workforce to Overcome Staffing Constraints (G00777560)</a:t>
            </a:r>
          </a:p>
          <a:p>
            <a:pPr marL="171450" indent="-171450">
              <a:buFont typeface="Arial" panose="020B0604020202020204" pitchFamily="34" charset="0"/>
              <a:buChar char="•"/>
            </a:pPr>
            <a:r>
              <a:rPr lang="en-US" dirty="0"/>
              <a:t>Security Staffing Options for Midsize Enterprises (G00763617)</a:t>
            </a:r>
          </a:p>
          <a:p>
            <a:pPr marL="171450" indent="-171450">
              <a:buFont typeface="Arial" panose="020B0604020202020204" pitchFamily="34" charset="0"/>
              <a:buChar char="•"/>
            </a:pPr>
            <a:r>
              <a:rPr lang="en-US" dirty="0"/>
              <a:t>4Q22 IT Workforce Report: Despite Flat Business Confidence, IT Job Seeking Hasn’t Slowed Down in Many Regions (</a:t>
            </a:r>
            <a:r>
              <a:rPr lang="en-US" dirty="0" err="1"/>
              <a:t>G00787175</a:t>
            </a:r>
            <a:r>
              <a:rPr lang="en-US" dirty="0"/>
              <a:t>)</a:t>
            </a:r>
            <a:br>
              <a:rPr lang="en-US" dirty="0"/>
            </a:br>
            <a:r>
              <a:rPr lang="en-US" b="1" u="sng" dirty="0"/>
              <a:t>Evidence</a:t>
            </a:r>
          </a:p>
          <a:p>
            <a:r>
              <a:rPr lang="en-US" baseline="30000" dirty="0"/>
              <a:t>1</a:t>
            </a:r>
            <a:r>
              <a:rPr lang="en-US" dirty="0"/>
              <a:t> </a:t>
            </a:r>
            <a:r>
              <a:rPr lang="en-US" dirty="0" err="1"/>
              <a:t>1Q20</a:t>
            </a:r>
            <a:r>
              <a:rPr lang="en-US" dirty="0"/>
              <a:t> — </a:t>
            </a:r>
            <a:r>
              <a:rPr lang="en-US" dirty="0" err="1"/>
              <a:t>4Q22</a:t>
            </a:r>
            <a:r>
              <a:rPr lang="en-US" dirty="0"/>
              <a:t> Gartner Global Labor Market Surveys</a:t>
            </a:r>
          </a:p>
          <a:p>
            <a:r>
              <a:rPr lang="en-US" baseline="30000" dirty="0"/>
              <a:t>2</a:t>
            </a:r>
            <a:r>
              <a:rPr lang="en-US" dirty="0"/>
              <a:t> 2022 Gartner Midsize Enterprise Baseline Survey</a:t>
            </a:r>
          </a:p>
        </p:txBody>
      </p:sp>
      <p:sp>
        <p:nvSpPr>
          <p:cNvPr id="5" name="Slide Image Placeholder 4">
            <a:extLst>
              <a:ext uri="{FF2B5EF4-FFF2-40B4-BE49-F238E27FC236}">
                <a16:creationId xmlns:a16="http://schemas.microsoft.com/office/drawing/2014/main" id="{E74CF0A5-D3EF-5793-1796-DC223D1AE56A}"/>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33654213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80" name="Google Shape;580;p25:notes"/>
          <p:cNvSpPr txBox="1">
            <a:spLocks noGrp="1"/>
          </p:cNvSpPr>
          <p:nvPr>
            <p:ph type="body" idx="1"/>
          </p:nvPr>
        </p:nvSpPr>
        <p:spPr/>
        <p:txBody>
          <a:bodyPr/>
          <a:lstStyle/>
          <a:p>
            <a:pPr lvl="0"/>
            <a:r>
              <a:rPr lang="en-US" dirty="0"/>
              <a:t>While MSEs appear to be doing well on the technical side of digital platforms, they are struggling to create a comprehensive and cohesive digital vision across the organization</a:t>
            </a:r>
            <a:r>
              <a:rPr lang="en-US" baseline="30000" dirty="0"/>
              <a:t>1</a:t>
            </a:r>
            <a:r>
              <a:rPr lang="en-US" dirty="0"/>
              <a:t>. This indicates that there is still work for the CIO to do in ensuring their efforts with technology yield measurable business value. There are various avenues for the CIO to pursue. The keys to this are 1) Defining some form of arbitration that guides IT strategy and the use of technology resources and, 2) establishing proper communication mechanisms to bring IT and business units into consensus. These can come in the form of an authoritative strategic plan, for which MSE CIOs are sometimes the catalyst. Well-implemented governance also plays a positive role. The organization structure in IT can also play a part provided there are resources, either by role, or by function, whose responsibility is to interact with business units to inform strategic deployment of technology leading to business value.</a:t>
            </a:r>
          </a:p>
          <a:p>
            <a:pPr lvl="0"/>
            <a:endParaRPr lang="en-US" dirty="0"/>
          </a:p>
          <a:p>
            <a:r>
              <a:rPr lang="en-US" b="1" u="sng" dirty="0"/>
              <a:t>Recommended Reading</a:t>
            </a:r>
          </a:p>
          <a:p>
            <a:pPr marL="171450" indent="-171450">
              <a:buFont typeface="Arial" panose="020B0604020202020204" pitchFamily="34" charset="0"/>
              <a:buChar char="•"/>
            </a:pPr>
            <a:r>
              <a:rPr lang="en-US" dirty="0"/>
              <a:t>Tool: Digital Strategy Templates for Midsize Enterprises (G00773319)</a:t>
            </a:r>
          </a:p>
          <a:p>
            <a:pPr marL="171450" indent="-171450">
              <a:buFont typeface="Arial" panose="020B0604020202020204" pitchFamily="34" charset="0"/>
              <a:buChar char="•"/>
            </a:pPr>
            <a:r>
              <a:rPr lang="en-US" dirty="0"/>
              <a:t>Enterprise IT Governance, Part 1 — Obtaining a Mandate and Establishing the Scope (G00374554)</a:t>
            </a:r>
          </a:p>
          <a:p>
            <a:pPr marL="171450" indent="-171450">
              <a:buFont typeface="Arial" panose="020B0604020202020204" pitchFamily="34" charset="0"/>
              <a:buChar char="•"/>
            </a:pPr>
            <a:r>
              <a:rPr lang="en-US" dirty="0"/>
              <a:t>Midsize Enterprise IT Organizational Design: 3 Structural Archetypes to Meet Discrete Enterprise Needs (G00758303)</a:t>
            </a:r>
          </a:p>
          <a:p>
            <a:br>
              <a:rPr lang="en-US" dirty="0"/>
            </a:br>
            <a:r>
              <a:rPr lang="en-US" b="1" u="sng" dirty="0"/>
              <a:t>Evidence</a:t>
            </a:r>
          </a:p>
          <a:p>
            <a:pPr marL="0" indent="0">
              <a:buFont typeface="Arial" panose="020B0604020202020204" pitchFamily="34" charset="0"/>
              <a:buNone/>
            </a:pPr>
            <a:r>
              <a:rPr lang="en-US" baseline="30000" dirty="0"/>
              <a:t>1 </a:t>
            </a:r>
            <a:r>
              <a:rPr lang="en-US" dirty="0"/>
              <a:t>2023 Gartner CIO and Technology Executive Survey</a:t>
            </a:r>
          </a:p>
        </p:txBody>
      </p:sp>
      <p:sp>
        <p:nvSpPr>
          <p:cNvPr id="3" name="Slide Image Placeholder 2">
            <a:extLst>
              <a:ext uri="{FF2B5EF4-FFF2-40B4-BE49-F238E27FC236}">
                <a16:creationId xmlns:a16="http://schemas.microsoft.com/office/drawing/2014/main" id="{6A601928-2BC1-3FB0-CCD8-D9DB3361E087}"/>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23696207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6"/>
        <p:cNvGrpSpPr/>
        <p:nvPr/>
      </p:nvGrpSpPr>
      <p:grpSpPr>
        <a:xfrm>
          <a:off x="0" y="0"/>
          <a:ext cx="0" cy="0"/>
          <a:chOff x="0" y="0"/>
          <a:chExt cx="0" cy="0"/>
        </a:xfrm>
      </p:grpSpPr>
      <p:sp>
        <p:nvSpPr>
          <p:cNvPr id="638" name="Google Shape;638;p31:notes"/>
          <p:cNvSpPr txBox="1">
            <a:spLocks noGrp="1"/>
          </p:cNvSpPr>
          <p:nvPr>
            <p:ph type="body" idx="1"/>
          </p:nvPr>
        </p:nvSpPr>
        <p:spPr/>
        <p:txBody>
          <a:bodyPr/>
          <a:lstStyle/>
          <a:p>
            <a:r>
              <a:rPr lang="en-US" dirty="0"/>
              <a:t>Despite spending on digital initiatives, some executives, particularly CFOs, are not satisfied with the return on investment</a:t>
            </a:r>
            <a:r>
              <a:rPr lang="en-US" baseline="30000" dirty="0"/>
              <a:t>1</a:t>
            </a:r>
            <a:r>
              <a:rPr lang="en-US" dirty="0"/>
              <a:t>. Often, digital initiatives are undertaken with a non-strategic approach. Deploying technology without considering the common threads of integration, security, manageability, scalability, and overall business strategy and desired outcomes, generally yields poor and even counter-productive results. However, it is all-too-often the case. Likewise, digital initiatives that do not involve the proper amount of collaboration between IT and the business units, whether it is an internal or external customer-facing initiative, are likely to underperform. Desired business outcomes must be defined at the outset of any digital initiative given the necessary investments in time and money. Expectations must also be calculated and set forth to all stakeholders. Finally, CIOs do not always properly present the business value of the technology they deliver. All of these can contribute to a senior executive’s impression that they are not receiving proper value for the investment in digital initiatives, either because they haven’t, or because they don’t know that they have.</a:t>
            </a:r>
          </a:p>
          <a:p>
            <a:endParaRPr lang="en-US" dirty="0"/>
          </a:p>
          <a:p>
            <a:r>
              <a:rPr lang="en-US" b="1" u="sng" dirty="0"/>
              <a:t>Recommended Reading</a:t>
            </a:r>
          </a:p>
          <a:p>
            <a:pPr marL="171450" indent="-171450">
              <a:buFont typeface="Arial" panose="020B0604020202020204" pitchFamily="34" charset="0"/>
              <a:buChar char="•"/>
            </a:pPr>
            <a:r>
              <a:rPr lang="en-US" dirty="0"/>
              <a:t>Maximize the Value of Digital Workplace Investments in Midsize Enterprises (G00759871)</a:t>
            </a:r>
          </a:p>
          <a:p>
            <a:pPr marL="171450" indent="-171450">
              <a:buFont typeface="Arial" panose="020B0604020202020204" pitchFamily="34" charset="0"/>
              <a:buChar char="•"/>
            </a:pPr>
            <a:r>
              <a:rPr lang="en-US" dirty="0"/>
              <a:t>7 Rules for Demonstrating the Business Value of IT (G00766761)</a:t>
            </a:r>
          </a:p>
          <a:p>
            <a:br>
              <a:rPr lang="en-US" dirty="0"/>
            </a:br>
            <a:r>
              <a:rPr lang="en-US" b="1" u="sng" dirty="0"/>
              <a:t>Evidence</a:t>
            </a:r>
          </a:p>
          <a:p>
            <a:pPr marL="0" indent="0">
              <a:buFont typeface="Arial" panose="020B0604020202020204" pitchFamily="34" charset="0"/>
              <a:buNone/>
            </a:pPr>
            <a:r>
              <a:rPr lang="en-US" baseline="30000" dirty="0"/>
              <a:t>1 </a:t>
            </a:r>
            <a:r>
              <a:rPr lang="en-US" dirty="0"/>
              <a:t>2022 Gartner Driving Business Outcomes from Enterprise Digital Spending Survey</a:t>
            </a:r>
          </a:p>
          <a:p>
            <a:endParaRPr lang="en-US" dirty="0"/>
          </a:p>
        </p:txBody>
      </p:sp>
      <p:sp>
        <p:nvSpPr>
          <p:cNvPr id="3" name="Slide Image Placeholder 2">
            <a:extLst>
              <a:ext uri="{FF2B5EF4-FFF2-40B4-BE49-F238E27FC236}">
                <a16:creationId xmlns:a16="http://schemas.microsoft.com/office/drawing/2014/main" id="{18C8BC06-CA97-DB52-4AB3-DCF0AEC112CF}"/>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31313987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US" dirty="0"/>
          </a:p>
        </p:txBody>
      </p:sp>
      <p:sp>
        <p:nvSpPr>
          <p:cNvPr id="5" name="Slide Image Placeholder 4">
            <a:extLst>
              <a:ext uri="{FF2B5EF4-FFF2-40B4-BE49-F238E27FC236}">
                <a16:creationId xmlns:a16="http://schemas.microsoft.com/office/drawing/2014/main" id="{DAF31A24-0978-43A1-F1B1-1A9DF00AE3CE}"/>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40296513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Current economic times are affecting organizations differently. However, the reality of inflation is consistent across the board. The top answer given by MSE CEOs when asked about their planned response to inflation in their market was to raise prices. This is a short-term solution that is not ultimately sustainable. Their next 2 answers were cost optimization and productivity/efficiency/automation</a:t>
            </a:r>
            <a:r>
              <a:rPr lang="en-US" baseline="30000" dirty="0"/>
              <a:t>1</a:t>
            </a:r>
            <a:r>
              <a:rPr lang="en-US" dirty="0"/>
              <a:t>. These are sustainable strategies and ones where the CIO plays a prominent role. Technology, properly executed, can have a tremendous effect on operational efficiencies, productivity opportunities, and overall organizational cost optimization. Executing properly here requires the CIO and the IT team to be well-versed in business operations and in close communication with business units. Fortunately, this is an area where MSEs have an advantage due to their size and scale and the ability to leverage smaller communication channels. The key for the MSE CIO is to understand all the dimensions of cost optimization and be able to communicate them to senior management while executing to the benefit of the organization.</a:t>
            </a:r>
          </a:p>
          <a:p>
            <a:endParaRPr lang="en-US" dirty="0"/>
          </a:p>
          <a:p>
            <a:r>
              <a:rPr lang="en-US" b="1" u="sng" dirty="0"/>
              <a:t>Recommended Reading</a:t>
            </a:r>
          </a:p>
          <a:p>
            <a:pPr marL="171450" indent="-171450">
              <a:buFont typeface="Arial" panose="020B0604020202020204" pitchFamily="34" charset="0"/>
              <a:buChar char="•"/>
            </a:pPr>
            <a:r>
              <a:rPr lang="en-US" dirty="0"/>
              <a:t>Tool: Gartner’s Top IT Cost Optimization Ideas (G00765017)</a:t>
            </a:r>
          </a:p>
          <a:p>
            <a:br>
              <a:rPr lang="en-US" dirty="0"/>
            </a:br>
            <a:r>
              <a:rPr lang="en-US" b="1" u="sng" dirty="0"/>
              <a:t>Evidence</a:t>
            </a:r>
          </a:p>
          <a:p>
            <a:pPr marL="0" indent="0">
              <a:buFont typeface="Arial" panose="020B0604020202020204" pitchFamily="34" charset="0"/>
              <a:buNone/>
            </a:pPr>
            <a:r>
              <a:rPr lang="en-US" baseline="30000" dirty="0"/>
              <a:t>1 </a:t>
            </a:r>
            <a:r>
              <a:rPr lang="en-US" dirty="0"/>
              <a:t>2023 Gartner CEO and Senior Business Executive Survey</a:t>
            </a:r>
          </a:p>
        </p:txBody>
      </p:sp>
      <p:sp>
        <p:nvSpPr>
          <p:cNvPr id="5" name="Slide Image Placeholder 4">
            <a:extLst>
              <a:ext uri="{FF2B5EF4-FFF2-40B4-BE49-F238E27FC236}">
                <a16:creationId xmlns:a16="http://schemas.microsoft.com/office/drawing/2014/main" id="{4A3F9AD2-0791-4EFD-E4B3-A7900D4FDB61}"/>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6347558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p13:notes"/>
          <p:cNvSpPr txBox="1">
            <a:spLocks noGrp="1"/>
          </p:cNvSpPr>
          <p:nvPr>
            <p:ph type="body" idx="1"/>
          </p:nvPr>
        </p:nvSpPr>
        <p:spPr/>
        <p:txBody>
          <a:bodyPr/>
          <a:lstStyle/>
          <a:p>
            <a:pPr lvl="0"/>
            <a:r>
              <a:rPr lang="en-US" dirty="0">
                <a:sym typeface="Arial"/>
              </a:rPr>
              <a:t>Whether an MSE CIO is in a situation where they need to hire talent, or retain the talent they have, knowing what attracts an employee or what drives them away becomes very important. Most organizations cannot be good at all things. This is especially </a:t>
            </a:r>
            <a:r>
              <a:rPr lang="en-US" b="0" dirty="0">
                <a:sym typeface="Arial"/>
              </a:rPr>
              <a:t>true</a:t>
            </a:r>
            <a:r>
              <a:rPr lang="en-US" dirty="0">
                <a:sym typeface="Arial"/>
              </a:rPr>
              <a:t> in MSE, where resources are limited simply by virtue of size and scale. When considering your talent strategy, first look at the drivers common to attraction and attrition. Then consider the drivers on either side. Finally, assess the drivers on which your organization can compete. Too often, talent is handled with no specific plan. Organizations handle each situation differently and often find themselves trying to attract or retain talent inefficiently given their specific dynamics. Said another way, they waste time and resources competing for talent that is ultimately unattainable. Knowing what levers you can always pull to compete eliminates this inefficiency and allows your organization to operate to its best advantage. These levers vary for every organization. The first step is always knowing what they are.</a:t>
            </a:r>
          </a:p>
          <a:p>
            <a:pPr lvl="0"/>
            <a:endParaRPr lang="en-US" dirty="0">
              <a:sym typeface="Arial"/>
            </a:endParaRPr>
          </a:p>
          <a:p>
            <a:pPr lvl="0"/>
            <a:r>
              <a:rPr lang="en-US" dirty="0">
                <a:sym typeface="Arial"/>
              </a:rPr>
              <a:t>Compensation is No. 1 on both lists. Benefits rank high on the attraction side. Management of people (the quality of management, how employees are recognized and cared for) is prominent on the attrition side</a:t>
            </a:r>
            <a:r>
              <a:rPr lang="en-US" baseline="30000" dirty="0">
                <a:sym typeface="Arial"/>
              </a:rPr>
              <a:t>1</a:t>
            </a:r>
            <a:r>
              <a:rPr lang="en-US" dirty="0">
                <a:sym typeface="Arial"/>
              </a:rPr>
              <a:t>. Given the uniqueness of each organization, creativity plays a part in a staffing strategy. However, this must start with data as a baseline.</a:t>
            </a:r>
          </a:p>
          <a:p>
            <a:pPr lvl="0"/>
            <a:endParaRPr lang="en-US" dirty="0">
              <a:sym typeface="Arial"/>
            </a:endParaRPr>
          </a:p>
          <a:p>
            <a:r>
              <a:rPr lang="en-US" b="1" u="sng" dirty="0"/>
              <a:t>Recommended Reading</a:t>
            </a:r>
          </a:p>
          <a:p>
            <a:pPr marL="171450" indent="-171450">
              <a:buFont typeface="Arial" panose="020B0604020202020204" pitchFamily="34" charset="0"/>
              <a:buChar char="•"/>
            </a:pPr>
            <a:r>
              <a:rPr lang="en-US" dirty="0"/>
              <a:t>4Q22 IT Workforce Report: Despite Flat Business Confidence, IT Job Seeking Hasn’t Slowed Down in Many Regions (G00787175)</a:t>
            </a:r>
          </a:p>
          <a:p>
            <a:br>
              <a:rPr lang="en-US" dirty="0"/>
            </a:br>
            <a:r>
              <a:rPr lang="en-US" b="1" u="sng" dirty="0"/>
              <a:t>Evidence</a:t>
            </a:r>
          </a:p>
          <a:p>
            <a:pPr marL="0" indent="0">
              <a:buFont typeface="Arial" panose="020B0604020202020204" pitchFamily="34" charset="0"/>
              <a:buNone/>
            </a:pPr>
            <a:r>
              <a:rPr lang="en-US" baseline="30000" dirty="0"/>
              <a:t>1 </a:t>
            </a:r>
            <a:r>
              <a:rPr lang="en-US" dirty="0"/>
              <a:t>4Q22 Gartner Global Labor Market Survey</a:t>
            </a:r>
          </a:p>
        </p:txBody>
      </p:sp>
      <p:sp>
        <p:nvSpPr>
          <p:cNvPr id="3" name="Slide Image Placeholder 2">
            <a:extLst>
              <a:ext uri="{FF2B5EF4-FFF2-40B4-BE49-F238E27FC236}">
                <a16:creationId xmlns:a16="http://schemas.microsoft.com/office/drawing/2014/main" id="{6887D0F6-C5E0-31A7-A747-832A86F27B33}"/>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12663591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80" name="Google Shape;580;p25:notes"/>
          <p:cNvSpPr txBox="1">
            <a:spLocks noGrp="1"/>
          </p:cNvSpPr>
          <p:nvPr>
            <p:ph type="body" idx="1"/>
          </p:nvPr>
        </p:nvSpPr>
        <p:spPr/>
        <p:txBody>
          <a:bodyPr/>
          <a:lstStyle/>
          <a:p>
            <a:r>
              <a:rPr lang="en-US" dirty="0"/>
              <a:t>MSE CIOs must leverage their smaller scale and less-complicated communications channels to know what their organizations want from their digital investments. Survey data is a good conversation starter as senior leaders do not always articulate what they want in actionable ways. Efficiency is top of mind given the current economic climate. However, some organizations are looking for more aggressive opportunities with technology. Even given economic uncertainty, interest among MSE CEOs in exploring new markets was up 78% over last year</a:t>
            </a:r>
            <a:r>
              <a:rPr lang="en-US" baseline="30000" dirty="0"/>
              <a:t>1</a:t>
            </a:r>
            <a:r>
              <a:rPr lang="en-US" baseline="0" dirty="0"/>
              <a:t>.</a:t>
            </a:r>
            <a:r>
              <a:rPr lang="en-US" dirty="0"/>
              <a:t> MSE CIOs see the objectives of their digital investments over a wide swath that covers operational excellence, efficiency, productivity, revenue growth, etc.</a:t>
            </a:r>
            <a:r>
              <a:rPr lang="en-US" baseline="30000" dirty="0"/>
              <a:t>2</a:t>
            </a:r>
            <a:r>
              <a:rPr lang="en-US" dirty="0"/>
              <a:t>. These objectives largely mirror what we see from our CEOs. The key for the CIO is to be properly tied into the right conversations and employ the proper mechanisms to know what their organizations want/need from their digital initiatives.</a:t>
            </a:r>
          </a:p>
          <a:p>
            <a:pPr lvl="0"/>
            <a:endParaRPr lang="en-US" dirty="0"/>
          </a:p>
          <a:p>
            <a:r>
              <a:rPr lang="en-US" b="1" u="sng" dirty="0"/>
              <a:t>Recommended Reading</a:t>
            </a:r>
          </a:p>
          <a:p>
            <a:pPr marL="171450" indent="-171450">
              <a:buFont typeface="Arial" panose="020B0604020202020204" pitchFamily="34" charset="0"/>
              <a:buChar char="•"/>
            </a:pPr>
            <a:r>
              <a:rPr lang="en-US" dirty="0"/>
              <a:t>Leveraging Digital Product Management for Digital Business Transformation and Optimization (G00450440)</a:t>
            </a:r>
          </a:p>
          <a:p>
            <a:pPr marL="171450" indent="-171450">
              <a:buFont typeface="Arial" panose="020B0604020202020204" pitchFamily="34" charset="0"/>
              <a:buChar char="•"/>
            </a:pPr>
            <a:r>
              <a:rPr lang="en-US" dirty="0"/>
              <a:t>Tool: 8 Approaches for Digital Business Optimization (G00722878)</a:t>
            </a:r>
          </a:p>
          <a:p>
            <a:br>
              <a:rPr lang="en-US" dirty="0"/>
            </a:br>
            <a:r>
              <a:rPr lang="en-US" b="1" u="sng" dirty="0"/>
              <a:t>Evidence</a:t>
            </a:r>
          </a:p>
          <a:p>
            <a:r>
              <a:rPr lang="en-US" baseline="30000" dirty="0"/>
              <a:t>1</a:t>
            </a:r>
            <a:r>
              <a:rPr lang="en-US" dirty="0"/>
              <a:t> 2023 Gartner CEO and Senior Business Executive Survey</a:t>
            </a:r>
          </a:p>
          <a:p>
            <a:r>
              <a:rPr lang="en-US" baseline="30000" dirty="0"/>
              <a:t>2</a:t>
            </a:r>
            <a:r>
              <a:rPr lang="en-US" dirty="0"/>
              <a:t> 2023 Gartner CIO and Technology Executive Survey</a:t>
            </a:r>
          </a:p>
        </p:txBody>
      </p:sp>
      <p:sp>
        <p:nvSpPr>
          <p:cNvPr id="3" name="Slide Image Placeholder 2">
            <a:extLst>
              <a:ext uri="{FF2B5EF4-FFF2-40B4-BE49-F238E27FC236}">
                <a16:creationId xmlns:a16="http://schemas.microsoft.com/office/drawing/2014/main" id="{8E34FDB2-3E33-88C2-7E8B-B47A60582ECB}"/>
              </a:ext>
            </a:extLst>
          </p:cNvPr>
          <p:cNvSpPr>
            <a:spLocks noGrp="1" noRot="1" noChangeAspect="1"/>
          </p:cNvSpPr>
          <p:nvPr>
            <p:ph type="sldImg"/>
          </p:nvPr>
        </p:nvSpPr>
        <p:spPr>
          <a:xfrm>
            <a:off x="1333500" y="658813"/>
            <a:ext cx="4191000" cy="2357437"/>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MSE CIOs sometimes struggle to properly communicate the value of their contribution to business goals and objectives. Technology is a highly complex undertaking. While all of ingredients must be the right ones and properly ordered, this is not what communicates value to senior executives. They want to know how the finished product positively affects their top and bottom lines. Learning how to discuss business value benefits the CIO in justifying budget and other resources for their initiatives. The benefit to the organization is well-communicated and properly funded technology initiatives that will drive the value that the organization needs to be successful.</a:t>
            </a:r>
          </a:p>
          <a:p>
            <a:endParaRPr lang="en-US" dirty="0"/>
          </a:p>
          <a:p>
            <a:r>
              <a:rPr lang="en-US" b="1" u="sng" dirty="0"/>
              <a:t>Recommended Reading</a:t>
            </a:r>
          </a:p>
          <a:p>
            <a:pPr marL="171450" indent="-171450">
              <a:buFont typeface="Arial" panose="020B0604020202020204" pitchFamily="34" charset="0"/>
              <a:buChar char="•"/>
            </a:pPr>
            <a:r>
              <a:rPr lang="en-US" dirty="0"/>
              <a:t>7 Rules for Demonstrating the Business Value of IT — </a:t>
            </a:r>
            <a:r>
              <a:rPr lang="en-US" dirty="0" err="1"/>
              <a:t>G00766761</a:t>
            </a:r>
            <a:endParaRPr lang="en-US" dirty="0"/>
          </a:p>
        </p:txBody>
      </p:sp>
      <p:sp>
        <p:nvSpPr>
          <p:cNvPr id="5" name="Slide Image Placeholder 4">
            <a:extLst>
              <a:ext uri="{FF2B5EF4-FFF2-40B4-BE49-F238E27FC236}">
                <a16:creationId xmlns:a16="http://schemas.microsoft.com/office/drawing/2014/main" id="{E8AFBE57-5E27-ECEB-C16B-6469A74CFCD0}"/>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462714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MSE CIOs sense a tension between the need for cost consciousness given their budget dynamics (and exacerbated by current economic conditions), and the ever-increasing demand for technology to drive the business. Executed properly, these two seemingly competing initiatives are actually complementary. An organization will not be able to fund its digital initiatives without proper cost management as it preserves necessary funding for these initiatives. Neither will they be able to create efficiencies or enjoy competitive advantage without properly leveraging technology. </a:t>
            </a:r>
          </a:p>
          <a:p>
            <a:endParaRPr lang="en-US" dirty="0"/>
          </a:p>
          <a:p>
            <a:r>
              <a:rPr lang="en-US" dirty="0"/>
              <a:t>MSE CIOs must first understand how senior management perceives the difference between how IT contributes to running the business versus how technology is deployed to grow and transform the business. The infrastructure and platforms that IT delivers to run the business, albeit critical, are non-differentiating (everyone has a network, email, etc.). As such, these services are thought of as a price-for-performance investment. They must be delivered as efficiently as possible. While there must be a strategy involved in the infrastructure, it is largely considered a tactical endeavor outside of IT.</a:t>
            </a:r>
          </a:p>
          <a:p>
            <a:endParaRPr lang="en-US" dirty="0"/>
          </a:p>
          <a:p>
            <a:r>
              <a:rPr lang="en-US" dirty="0"/>
              <a:t>Technology to grow and transform the business is thought of more in the strategic realm. Execution here must carry a return on investment (faster/less expensive operations, new or enhanced revenue opportunities, etc.). Delivering technology with this understanding helps the CIO execute on strategic cost optimization which, in turn, generates or frees up funds for digital business acceleration.</a:t>
            </a:r>
          </a:p>
          <a:p>
            <a:endParaRPr lang="en-US" dirty="0"/>
          </a:p>
          <a:p>
            <a:r>
              <a:rPr lang="en-US" b="1" u="sng" dirty="0"/>
              <a:t>Recommended Reading</a:t>
            </a:r>
          </a:p>
          <a:p>
            <a:pPr marL="171450" indent="-171450">
              <a:buFont typeface="Arial" panose="020B0604020202020204" pitchFamily="34" charset="0"/>
              <a:buChar char="•"/>
            </a:pPr>
            <a:r>
              <a:rPr lang="en-US" dirty="0"/>
              <a:t>Divide Business Value of IT Conversations Into a Run Story and a Change Story (G00759135)</a:t>
            </a:r>
          </a:p>
          <a:p>
            <a:endParaRPr lang="en-US" dirty="0"/>
          </a:p>
        </p:txBody>
      </p:sp>
      <p:sp>
        <p:nvSpPr>
          <p:cNvPr id="5" name="Slide Image Placeholder 4">
            <a:extLst>
              <a:ext uri="{FF2B5EF4-FFF2-40B4-BE49-F238E27FC236}">
                <a16:creationId xmlns:a16="http://schemas.microsoft.com/office/drawing/2014/main" id="{B2B517CB-D169-9C5A-079B-4FE629B55561}"/>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5382690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PhAnim="0">
  <p:cSld>
    <p:spTree>
      <p:nvGrpSpPr>
        <p:cNvPr id="1" name="Shape 426"/>
        <p:cNvGrpSpPr/>
        <p:nvPr/>
      </p:nvGrpSpPr>
      <p:grpSpPr>
        <a:xfrm>
          <a:off x="0" y="0"/>
          <a:ext cx="0" cy="0"/>
          <a:chOff x="0" y="0"/>
          <a:chExt cx="0" cy="0"/>
        </a:xfrm>
      </p:grpSpPr>
      <p:sp>
        <p:nvSpPr>
          <p:cNvPr id="3" name="Slide Image Placeholder 2">
            <a:extLst>
              <a:ext uri="{FF2B5EF4-FFF2-40B4-BE49-F238E27FC236}">
                <a16:creationId xmlns:a16="http://schemas.microsoft.com/office/drawing/2014/main" id="{2DFF9C8F-696A-D426-CF75-7D6C36F8DF3C}"/>
              </a:ext>
            </a:extLst>
          </p:cNvPr>
          <p:cNvSpPr>
            <a:spLocks noGrp="1" noRot="1" noChangeAspect="1"/>
          </p:cNvSpPr>
          <p:nvPr>
            <p:ph type="sldImg"/>
          </p:nvPr>
        </p:nvSpPr>
        <p:spPr>
          <a:xfrm>
            <a:off x="1333500" y="658813"/>
            <a:ext cx="4191000" cy="2357437"/>
          </a:xfrm>
        </p:spPr>
      </p:sp>
      <p:sp>
        <p:nvSpPr>
          <p:cNvPr id="4" name="Notes Placeholder 3">
            <a:extLst>
              <a:ext uri="{FF2B5EF4-FFF2-40B4-BE49-F238E27FC236}">
                <a16:creationId xmlns:a16="http://schemas.microsoft.com/office/drawing/2014/main" id="{0AB1F060-A878-E23C-0013-3E87E62BF18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34570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noProof="0" dirty="0">
                <a:sym typeface="Arial"/>
              </a:rPr>
              <a:t>From an organizational perspective, IT teams working within midsize enterprises (MSEs) are small. They don’t generally have the luxury of dedicated roles and/or specialists to carry out the tasks for which they are responsible. That extends to the management ranks as well. Those on the lower end of the revenue spectrum often lack a CIO (in title at least) and are led by those at the director or manager level. In the middle of higher-revenue bands, leadership teams are typically small, consisting of a CIO, an I&amp;O leader, an app leader and sometimes a dedicated security leader (although this function often lives in I&amp;O). </a:t>
            </a:r>
          </a:p>
          <a:p>
            <a:pPr lvl="0"/>
            <a:r>
              <a:rPr lang="en-US" noProof="0" dirty="0">
                <a:sym typeface="Arial"/>
              </a:rPr>
              <a:t>Leaders are intimately involved in what happens at a business level. However, when it comes to execution, some roles are virtual. The people in those roles do many things that go well beyond their title. These are what Gartner calls “versatilists,” or “multidimensional specialists.” </a:t>
            </a:r>
          </a:p>
          <a:p>
            <a:pPr lvl="0"/>
            <a:r>
              <a:rPr lang="en-US" noProof="0" dirty="0">
                <a:sym typeface="Arial"/>
              </a:rPr>
              <a:t>Specialization is the exception — not the rule — and effective execution in an environment where ecosystems are smaller (and budgets are tighter) requires a much different approach from a people, process and technology standpoint.</a:t>
            </a:r>
          </a:p>
          <a:p>
            <a:pPr lvl="0"/>
            <a:r>
              <a:rPr lang="en-US" noProof="0" dirty="0">
                <a:sym typeface="Arial"/>
              </a:rPr>
              <a:t>Also note that, the smaller the organization, the higher the percent of revenue goes to IT spend. This is due to in part to the inability of midsize enterprises to leverage scale. This is also due in part to MSEs investing in large enterprise solutions when there may be more rightsized solutions available to them. Even at these numbers, which have increased roughly ½% over last year, they are taking a larger piece of a much smaller pie, so finances in MSE IT are generally considered a constrained resource</a:t>
            </a:r>
            <a:r>
              <a:rPr lang="en-US" baseline="30000" noProof="0" dirty="0">
                <a:sym typeface="Arial"/>
              </a:rPr>
              <a:t>1</a:t>
            </a:r>
            <a:r>
              <a:rPr lang="en-US" baseline="0" noProof="0" dirty="0">
                <a:sym typeface="Arial"/>
              </a:rPr>
              <a:t>.</a:t>
            </a:r>
            <a:endParaRPr lang="en-US" baseline="30000" noProof="0" dirty="0">
              <a:sym typeface="Arial"/>
            </a:endParaRPr>
          </a:p>
          <a:p>
            <a:pPr lvl="0"/>
            <a:endParaRPr lang="en-US" noProof="0" dirty="0">
              <a:sym typeface="Arial"/>
            </a:endParaRPr>
          </a:p>
          <a:p>
            <a:pPr lvl="0"/>
            <a:r>
              <a:rPr lang="en-US" b="1" u="sng" noProof="0" dirty="0">
                <a:sym typeface="Arial"/>
              </a:rPr>
              <a:t>Recommended Reading</a:t>
            </a:r>
          </a:p>
          <a:p>
            <a:pPr marL="171450" lvl="0" indent="-171450">
              <a:buFont typeface="Arial" panose="020B0604020202020204" pitchFamily="34" charset="0"/>
              <a:buChar char="•"/>
            </a:pPr>
            <a:r>
              <a:rPr lang="en-US" u="none" noProof="0" dirty="0">
                <a:solidFill>
                  <a:schemeClr val="tx1"/>
                </a:solidFill>
                <a:sym typeface="Arial"/>
              </a:rPr>
              <a:t>3 Dynamics That Drive Midsize Enterprises (G00766054)</a:t>
            </a:r>
          </a:p>
          <a:p>
            <a:pPr lvl="0"/>
            <a:endParaRPr lang="en-US" noProof="0" dirty="0">
              <a:sym typeface="Arial"/>
            </a:endParaRPr>
          </a:p>
          <a:p>
            <a:pPr lvl="0"/>
            <a:r>
              <a:rPr lang="en-US" b="1" u="sng" noProof="0" dirty="0">
                <a:sym typeface="Arial"/>
              </a:rPr>
              <a:t>Evidence</a:t>
            </a:r>
          </a:p>
          <a:p>
            <a:pPr lvl="0"/>
            <a:r>
              <a:rPr lang="en-US" baseline="30000" noProof="0" dirty="0">
                <a:sym typeface="Arial"/>
              </a:rPr>
              <a:t>1</a:t>
            </a:r>
            <a:r>
              <a:rPr lang="en-US" noProof="0" dirty="0">
                <a:sym typeface="Arial"/>
              </a:rPr>
              <a:t> IT Key Metrics Data 2023: Industry Measures — Cross-Industry Analysis</a:t>
            </a:r>
          </a:p>
          <a:p>
            <a:pPr lvl="0"/>
            <a:endParaRPr lang="en-US" noProof="0" dirty="0">
              <a:sym typeface="Arial"/>
            </a:endParaRPr>
          </a:p>
        </p:txBody>
      </p:sp>
      <p:sp>
        <p:nvSpPr>
          <p:cNvPr id="5" name="Slide Image Placeholder 4">
            <a:extLst>
              <a:ext uri="{FF2B5EF4-FFF2-40B4-BE49-F238E27FC236}">
                <a16:creationId xmlns:a16="http://schemas.microsoft.com/office/drawing/2014/main" id="{8FA9EAAC-287F-2ED6-AA0E-818690B4EFC3}"/>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24426690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333500" y="658813"/>
            <a:ext cx="4191000" cy="2357437"/>
          </a:xfrm>
          <a:noFill/>
          <a:ln w="12700">
            <a:solidFill>
              <a:prstClr val="black"/>
            </a:solidFill>
          </a:ln>
        </p:spPr>
      </p:sp>
    </p:spTree>
    <p:extLst>
      <p:ext uri="{BB962C8B-B14F-4D97-AF65-F5344CB8AC3E}">
        <p14:creationId xmlns:p14="http://schemas.microsoft.com/office/powerpoint/2010/main" val="37052812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1516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Aft>
                <a:spcPts val="300"/>
              </a:spcAft>
            </a:pPr>
            <a:r>
              <a:rPr lang="en-US" dirty="0"/>
              <a:t>Midsize enterprise CEOs indicated very clearly where their levels of interest had increased heading into 2023. When asked about their strategic priorities, the areas that increased most from last year were:</a:t>
            </a:r>
          </a:p>
          <a:p>
            <a:pPr>
              <a:spcAft>
                <a:spcPts val="300"/>
              </a:spcAft>
            </a:pPr>
            <a:r>
              <a:rPr lang="en-US" b="1" dirty="0"/>
              <a:t>Growth</a:t>
            </a:r>
            <a:r>
              <a:rPr lang="en-US" dirty="0"/>
              <a:t> — This is always the No. 1 topic for MSE CEOs when we inquire about their top strategic priorities. Last year’s survey was no different, except that the actual numbers were down</a:t>
            </a:r>
            <a:r>
              <a:rPr lang="en-US" baseline="30000" dirty="0"/>
              <a:t>1</a:t>
            </a:r>
            <a:r>
              <a:rPr lang="en-US" dirty="0"/>
              <a:t>. This year, they have renewed their strong interest growing the organization via increased revenue (or income), market share, profit margins, and new markets.</a:t>
            </a:r>
          </a:p>
          <a:p>
            <a:pPr>
              <a:spcAft>
                <a:spcPts val="300"/>
              </a:spcAft>
            </a:pPr>
            <a:r>
              <a:rPr lang="en-US" b="1" dirty="0"/>
              <a:t>Corporate</a:t>
            </a:r>
            <a:r>
              <a:rPr lang="en-US" dirty="0"/>
              <a:t> — Again, after a year of diverted attentions, CEOs are back to showing great interest in corporate fundamentals such as business diversification, merger and acquisition considerations, and building culture.</a:t>
            </a:r>
          </a:p>
          <a:p>
            <a:pPr>
              <a:spcAft>
                <a:spcPts val="300"/>
              </a:spcAft>
            </a:pPr>
            <a:r>
              <a:rPr lang="en-US" b="1" dirty="0"/>
              <a:t>Financial</a:t>
            </a:r>
            <a:r>
              <a:rPr lang="en-US" dirty="0"/>
              <a:t> — Profitability improvement, capital and funding, and investor-related topics were prominent in this category. This is in line with the desire to grow the organization. Another category that showed very strongly here is return on capital/investment. As this pertains to the CIO, showing ROI on digital investments is coming under some scrutiny. Given the significance of IT spend in MSE (typically 4.9% of revenue</a:t>
            </a:r>
            <a:r>
              <a:rPr lang="en-US" baseline="30000" dirty="0"/>
              <a:t>2</a:t>
            </a:r>
            <a:r>
              <a:rPr lang="en-US" dirty="0"/>
              <a:t>) CIOs must consider how to properly demonstrate value to continue to procure funding in order to drive business value.</a:t>
            </a:r>
          </a:p>
          <a:p>
            <a:pPr>
              <a:spcAft>
                <a:spcPts val="300"/>
              </a:spcAft>
            </a:pPr>
            <a:r>
              <a:rPr lang="en-US" b="1" dirty="0"/>
              <a:t>Cost Management — </a:t>
            </a:r>
            <a:r>
              <a:rPr lang="en-US" dirty="0"/>
              <a:t>Good cost management is always appropriate. Sound fundamentals in good times can minimize the effects of economic downturns at any level (organization, industry, regional, etc.). There are very high expectations for returns on digital investments. Given the effects of the current inflationary environment, purposeful cost management is critical to success.</a:t>
            </a:r>
          </a:p>
          <a:p>
            <a:pPr>
              <a:spcAft>
                <a:spcPts val="300"/>
              </a:spcAft>
            </a:pPr>
            <a:endParaRPr lang="en-US" dirty="0"/>
          </a:p>
          <a:p>
            <a:pPr>
              <a:spcAft>
                <a:spcPts val="300"/>
              </a:spcAft>
            </a:pPr>
            <a:r>
              <a:rPr lang="en-US" b="1" u="sng" dirty="0"/>
              <a:t>Recommended Reading</a:t>
            </a:r>
          </a:p>
          <a:p>
            <a:pPr marL="171450" indent="-171450">
              <a:spcAft>
                <a:spcPts val="300"/>
              </a:spcAft>
              <a:buFont typeface="Arial" panose="020B0604020202020204" pitchFamily="34" charset="0"/>
              <a:buChar char="•"/>
            </a:pPr>
            <a:r>
              <a:rPr lang="en-US" dirty="0"/>
              <a:t>IT Key Metrics Data 2023: Industry Measures — Insights for Midsize Enterprises (G00779690)</a:t>
            </a:r>
          </a:p>
          <a:p>
            <a:pPr marL="171450" indent="-171450">
              <a:spcAft>
                <a:spcPts val="300"/>
              </a:spcAft>
              <a:buFont typeface="Arial" panose="020B0604020202020204" pitchFamily="34" charset="0"/>
              <a:buChar char="•"/>
            </a:pPr>
            <a:r>
              <a:rPr lang="en-US" dirty="0"/>
              <a:t>Divide Business Value of IT Conversations Into a Run Story and a Change Story (G00759135)</a:t>
            </a:r>
            <a:br>
              <a:rPr lang="en-US" dirty="0"/>
            </a:br>
            <a:endParaRPr lang="en-US" dirty="0"/>
          </a:p>
          <a:p>
            <a:pPr>
              <a:spcAft>
                <a:spcPts val="300"/>
              </a:spcAft>
            </a:pPr>
            <a:r>
              <a:rPr lang="en-US" b="1" u="sng" dirty="0"/>
              <a:t>Evidence</a:t>
            </a:r>
          </a:p>
          <a:p>
            <a:pPr marL="0" indent="0">
              <a:spcAft>
                <a:spcPts val="300"/>
              </a:spcAft>
              <a:buFont typeface="Arial" panose="020B0604020202020204" pitchFamily="34" charset="0"/>
              <a:buNone/>
            </a:pPr>
            <a:r>
              <a:rPr lang="en-US" baseline="30000" dirty="0"/>
              <a:t>1 </a:t>
            </a:r>
            <a:r>
              <a:rPr lang="en-US" dirty="0"/>
              <a:t>2023 Gartner CEO and Senior Business Executive Survey</a:t>
            </a:r>
          </a:p>
          <a:p>
            <a:pPr marL="0" indent="0">
              <a:spcAft>
                <a:spcPts val="300"/>
              </a:spcAft>
              <a:buFont typeface="Arial" panose="020B0604020202020204" pitchFamily="34" charset="0"/>
              <a:buNone/>
            </a:pPr>
            <a:r>
              <a:rPr lang="en-US" baseline="30000" dirty="0"/>
              <a:t>2</a:t>
            </a:r>
            <a:r>
              <a:rPr lang="en-US" dirty="0"/>
              <a:t> IT Key Metrics Data 2023: Industry Measures — Insights for Midsize Enterprises</a:t>
            </a:r>
          </a:p>
        </p:txBody>
      </p:sp>
      <p:sp>
        <p:nvSpPr>
          <p:cNvPr id="5" name="Slide Image Placeholder 4">
            <a:extLst>
              <a:ext uri="{FF2B5EF4-FFF2-40B4-BE49-F238E27FC236}">
                <a16:creationId xmlns:a16="http://schemas.microsoft.com/office/drawing/2014/main" id="{AFC24726-8717-5568-0CFE-D60D8AB71D8B}"/>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3527665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pPr lvl="0"/>
            <a:endParaRPr lang="en-US" b="1" dirty="0"/>
          </a:p>
        </p:txBody>
      </p:sp>
    </p:spTree>
    <p:extLst>
      <p:ext uri="{BB962C8B-B14F-4D97-AF65-F5344CB8AC3E}">
        <p14:creationId xmlns:p14="http://schemas.microsoft.com/office/powerpoint/2010/main" val="738974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noProof="0" dirty="0">
                <a:sym typeface="Arial"/>
              </a:rPr>
              <a:t>Senior executives continue to tell us that they will invest more in digital initiatives with over 95% of CEOs saying they will either increase their investment, or at least maintain it</a:t>
            </a:r>
            <a:r>
              <a:rPr lang="en-US" baseline="30000" noProof="0" dirty="0">
                <a:sym typeface="Arial"/>
              </a:rPr>
              <a:t>1</a:t>
            </a:r>
            <a:r>
              <a:rPr lang="en-US" noProof="0" dirty="0">
                <a:sym typeface="Arial"/>
              </a:rPr>
              <a:t>. The motivations change, but the investments continue to increase. Digital investments have been a focal point over the years for things such as competitive advantage and gateways into new innovations, products and markets. In the current economic conditions, digital is being seen by many as a means to create efficiencies to offset inflation and revenue loss. Optimization via digital initiatives was a top choice among members of MSE boards of directors when asked about business growth initiatives/investments over the next 2 years (58% listed this in their top 3 choices)</a:t>
            </a:r>
            <a:r>
              <a:rPr lang="en-US" baseline="30000" noProof="0" dirty="0">
                <a:sym typeface="Arial"/>
              </a:rPr>
              <a:t>2</a:t>
            </a:r>
            <a:r>
              <a:rPr lang="en-US" noProof="0" dirty="0">
                <a:sym typeface="Arial"/>
              </a:rPr>
              <a:t>. Notwithstanding, some MSEs are still looking for transformation and growth opportunities with their digital platforms. Twenty-two percent of MSE board members surveyed listed digital transformation opportunities among their top 3 answers</a:t>
            </a:r>
            <a:r>
              <a:rPr lang="en-US" baseline="30000" noProof="0" dirty="0">
                <a:sym typeface="Arial"/>
              </a:rPr>
              <a:t>2</a:t>
            </a:r>
            <a:r>
              <a:rPr lang="en-US" noProof="0" dirty="0">
                <a:sym typeface="Arial"/>
              </a:rPr>
              <a:t>.</a:t>
            </a:r>
          </a:p>
          <a:p>
            <a:pPr lvl="0"/>
            <a:endParaRPr lang="en-US" noProof="0" dirty="0">
              <a:sym typeface="Arial"/>
            </a:endParaRPr>
          </a:p>
          <a:p>
            <a:r>
              <a:rPr lang="en-US" b="1" u="sng" dirty="0"/>
              <a:t>Recommended Reading</a:t>
            </a:r>
          </a:p>
          <a:p>
            <a:pPr marL="171450" indent="-171450">
              <a:buFont typeface="Arial" panose="020B0604020202020204" pitchFamily="34" charset="0"/>
              <a:buChar char="•"/>
            </a:pPr>
            <a:r>
              <a:rPr lang="en-US" dirty="0"/>
              <a:t>Midsize Enterprise Digital Business Initiatives Primer for 2023 (G00779020)</a:t>
            </a:r>
          </a:p>
          <a:p>
            <a:br>
              <a:rPr lang="en-US" dirty="0"/>
            </a:br>
            <a:r>
              <a:rPr lang="en-US" b="1" u="sng" dirty="0"/>
              <a:t>Evidence</a:t>
            </a:r>
          </a:p>
          <a:p>
            <a:pPr marL="0" indent="0">
              <a:buFont typeface="Arial" panose="020B0604020202020204" pitchFamily="34" charset="0"/>
              <a:buNone/>
            </a:pPr>
            <a:r>
              <a:rPr lang="en-US" baseline="30000" dirty="0"/>
              <a:t>1 </a:t>
            </a:r>
            <a:r>
              <a:rPr lang="en-US" dirty="0"/>
              <a:t>2023 Gartner CEO and Senior Executive Survey</a:t>
            </a:r>
          </a:p>
          <a:p>
            <a:pPr marL="0" indent="0">
              <a:buFont typeface="Arial" panose="020B0604020202020204" pitchFamily="34" charset="0"/>
              <a:buNone/>
            </a:pPr>
            <a:r>
              <a:rPr lang="en-US" baseline="30000" dirty="0"/>
              <a:t>2 </a:t>
            </a:r>
            <a:r>
              <a:rPr lang="en-US" dirty="0"/>
              <a:t>2023 Gartner Board of Directors Survey on Business Strategy in an Uncertain World</a:t>
            </a:r>
            <a:endParaRPr lang="en-US" noProof="0" dirty="0">
              <a:sym typeface="Arial"/>
            </a:endParaRPr>
          </a:p>
          <a:p>
            <a:pPr lvl="0"/>
            <a:endParaRPr lang="en-US" noProof="0" dirty="0">
              <a:sym typeface="Arial"/>
            </a:endParaRPr>
          </a:p>
          <a:p>
            <a:endParaRPr lang="en-US" dirty="0"/>
          </a:p>
        </p:txBody>
      </p:sp>
      <p:sp>
        <p:nvSpPr>
          <p:cNvPr id="5" name="Slide Image Placeholder 4">
            <a:extLst>
              <a:ext uri="{FF2B5EF4-FFF2-40B4-BE49-F238E27FC236}">
                <a16:creationId xmlns:a16="http://schemas.microsoft.com/office/drawing/2014/main" id="{A95AA04B-2A02-D13B-3DF0-11AB785A924D}"/>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1936945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In the opinion of their boards of directors, digital maturity is on the rise in MSE. Fewer organizations are in the formative stages of their digital initiatives (Ambition and Design). The trend is also downward in the more mature stages such as Deliver and Scale. However, the trend is sharply upward at the highest level of maturity (Refine)</a:t>
            </a:r>
            <a:r>
              <a:rPr lang="en-US" baseline="30000" dirty="0"/>
              <a:t>1</a:t>
            </a:r>
            <a:r>
              <a:rPr lang="en-US" dirty="0"/>
              <a:t>. This indicates that MSEs are firmly embedded in their digital initiatives, and it has become a way of life. Some use the phrase “post digital” to describe this shift. More accurately, we would call it “neo-digital” to indicate that, while we continue to have digital projects, we have largely built the digital foundations on which to execute them.</a:t>
            </a:r>
          </a:p>
          <a:p>
            <a:endParaRPr lang="en-US" dirty="0"/>
          </a:p>
          <a:p>
            <a:r>
              <a:rPr lang="en-US" dirty="0"/>
              <a:t>For the MSE CIO, this means that digital foundations have, or are rapidly becoming, and expectation versus a luxury. This is a predictable phenomenon in the technology space — what was once aspirational or nice-to-have eventually becomes the minimum standard as organizations and technology continue to grow and evolve. Businesses will continue to seek efficiencies, improve experiences, and compete using their digital capabilities. MSE CIOs should carefully assess their digital maturity as this will be a key to their (and their organization’s) success going forward.</a:t>
            </a:r>
          </a:p>
          <a:p>
            <a:endParaRPr lang="en-US" dirty="0"/>
          </a:p>
          <a:p>
            <a:r>
              <a:rPr lang="en-US" b="1" u="sng" dirty="0"/>
              <a:t>Recommended Reading</a:t>
            </a:r>
          </a:p>
          <a:p>
            <a:pPr marL="171450" indent="-171450">
              <a:buFont typeface="Arial" panose="020B0604020202020204" pitchFamily="34" charset="0"/>
              <a:buChar char="•"/>
            </a:pPr>
            <a:r>
              <a:rPr lang="en-US" dirty="0"/>
              <a:t>Digital Execution Scorecard for Midsize Enterprise (G00768248)</a:t>
            </a:r>
          </a:p>
          <a:p>
            <a:br>
              <a:rPr lang="en-US" dirty="0"/>
            </a:br>
            <a:r>
              <a:rPr lang="en-US" b="1" u="sng" dirty="0"/>
              <a:t>Evidence</a:t>
            </a:r>
          </a:p>
          <a:p>
            <a:pPr marL="0" indent="0">
              <a:buFont typeface="Arial" panose="020B0604020202020204" pitchFamily="34" charset="0"/>
              <a:buNone/>
            </a:pPr>
            <a:r>
              <a:rPr lang="en-US" baseline="30000" dirty="0"/>
              <a:t>1 </a:t>
            </a:r>
            <a:r>
              <a:rPr lang="en-US" dirty="0"/>
              <a:t>2023 Gartner Board of Directors Survey on Business Strategy in an Uncertain World</a:t>
            </a:r>
          </a:p>
        </p:txBody>
      </p:sp>
      <p:sp>
        <p:nvSpPr>
          <p:cNvPr id="5" name="Slide Image Placeholder 4">
            <a:extLst>
              <a:ext uri="{FF2B5EF4-FFF2-40B4-BE49-F238E27FC236}">
                <a16:creationId xmlns:a16="http://schemas.microsoft.com/office/drawing/2014/main" id="{AE506520-42CE-09C2-7B6F-F0564594D32B}"/>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1943073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Digital initiatives and technology continue to top the list of strategic business priorities for boards of directors. However, they are very clear that the workforce — attracting, retaining, and properly preparing staff — is critical to business success. Staffing has been and continues to be a priority. Even in good economic times, attracting and retaining staff is a challenge for MSEs as they struggle to compete with their larger enterprise counterparts. For the IT staff, this has a profound effect on being able to deliver the digital technology platforms that their organizations demand. So, while funding and digital maturity are moving in a positive direction for MSE CIOs, staffing continues to be a challenge. Staffing strategies must become a more deliberate exercise in order to overcome these obstacles.</a:t>
            </a:r>
          </a:p>
          <a:p>
            <a:endParaRPr lang="en-US" dirty="0"/>
          </a:p>
          <a:p>
            <a:r>
              <a:rPr lang="en-US" b="1" u="sng" dirty="0"/>
              <a:t>Recommended Reading</a:t>
            </a:r>
          </a:p>
          <a:p>
            <a:pPr marL="171450" indent="-171450">
              <a:buFont typeface="Arial" panose="020B0604020202020204" pitchFamily="34" charset="0"/>
              <a:buChar char="•"/>
            </a:pPr>
            <a:r>
              <a:rPr lang="en-US" dirty="0"/>
              <a:t>4Q22 IT Workforce Report: Despite Flat Business Confidence, IT Job Seeking Hasn’t Slowed Down in Many Regions (G00787175)</a:t>
            </a:r>
          </a:p>
          <a:p>
            <a:br>
              <a:rPr lang="en-US" dirty="0"/>
            </a:br>
            <a:r>
              <a:rPr lang="en-US" b="1" u="sng" dirty="0"/>
              <a:t>Evidence</a:t>
            </a:r>
          </a:p>
          <a:p>
            <a:r>
              <a:rPr lang="en-US" baseline="30000" dirty="0"/>
              <a:t>1 </a:t>
            </a:r>
            <a:r>
              <a:rPr lang="en-US" dirty="0"/>
              <a:t>2023 Gartner Board of Directors Survey</a:t>
            </a:r>
            <a:r>
              <a:rPr lang="en-US" baseline="0" dirty="0"/>
              <a:t> </a:t>
            </a:r>
            <a:r>
              <a:rPr lang="en-US" dirty="0"/>
              <a:t>on Business Strategy in an Uncertain World</a:t>
            </a:r>
          </a:p>
          <a:p>
            <a:endParaRPr lang="en-US" dirty="0"/>
          </a:p>
        </p:txBody>
      </p:sp>
      <p:sp>
        <p:nvSpPr>
          <p:cNvPr id="5" name="Slide Image Placeholder 4">
            <a:extLst>
              <a:ext uri="{FF2B5EF4-FFF2-40B4-BE49-F238E27FC236}">
                <a16:creationId xmlns:a16="http://schemas.microsoft.com/office/drawing/2014/main" id="{583396B5-F586-7C6D-0DC4-3CB6348A1AEF}"/>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822608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pPr lvl="0"/>
            <a:endParaRPr lang="en-US" b="1" dirty="0">
              <a:solidFill>
                <a:schemeClr val="bg1"/>
              </a:solidFill>
            </a:endParaRPr>
          </a:p>
        </p:txBody>
      </p:sp>
    </p:spTree>
    <p:extLst>
      <p:ext uri="{BB962C8B-B14F-4D97-AF65-F5344CB8AC3E}">
        <p14:creationId xmlns:p14="http://schemas.microsoft.com/office/powerpoint/2010/main" val="2921129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8"/>
        <p:cNvGrpSpPr/>
        <p:nvPr/>
      </p:nvGrpSpPr>
      <p:grpSpPr>
        <a:xfrm>
          <a:off x="0" y="0"/>
          <a:ext cx="0" cy="0"/>
          <a:chOff x="0" y="0"/>
          <a:chExt cx="0" cy="0"/>
        </a:xfrm>
      </p:grpSpPr>
      <p:sp>
        <p:nvSpPr>
          <p:cNvPr id="430" name="Google Shape;430;p27:notes"/>
          <p:cNvSpPr txBox="1">
            <a:spLocks noGrp="1"/>
          </p:cNvSpPr>
          <p:nvPr>
            <p:ph type="body" idx="1"/>
          </p:nvPr>
        </p:nvSpPr>
        <p:spPr/>
        <p:txBody>
          <a:bodyPr/>
          <a:lstStyle/>
          <a:p>
            <a:pPr lvl="0"/>
            <a:r>
              <a:rPr lang="en-US" dirty="0"/>
              <a:t>While economic conditions vary widely across geographies, and the timing and severity of an economic downturn is still not clear, many economists are expecting economic growth to slow in 2023</a:t>
            </a:r>
            <a:r>
              <a:rPr lang="en-US" baseline="30000" dirty="0"/>
              <a:t>1</a:t>
            </a:r>
            <a:r>
              <a:rPr lang="en-US" dirty="0"/>
              <a:t>. The current economic conditions have created a unique combination of factors that Gartner calls “The Triple Squeeze”:</a:t>
            </a:r>
          </a:p>
          <a:p>
            <a:pPr lvl="0"/>
            <a:endParaRPr lang="en-US" dirty="0"/>
          </a:p>
          <a:p>
            <a:pPr lvl="0"/>
            <a:r>
              <a:rPr lang="en-US" b="1" dirty="0"/>
              <a:t>Persistent and high inflation </a:t>
            </a:r>
            <a:r>
              <a:rPr lang="en-US" dirty="0"/>
              <a:t>— Over 64% of MSE CIOs report expecting budget increases in the coming year</a:t>
            </a:r>
            <a:r>
              <a:rPr lang="en-US" baseline="30000" dirty="0"/>
              <a:t>2</a:t>
            </a:r>
            <a:r>
              <a:rPr lang="en-US" dirty="0"/>
              <a:t>. However, inflation is taking a bite out of their buying power that is already weakened by their inability to scale due to size. This complicates their plans to fund digital initiatives and brings the fundamentals of cost optimization to bear. Many MSEs are typically versed in the disciplines of cost optimization by necessity. The current economic climate will test their skills in this arena.</a:t>
            </a:r>
          </a:p>
          <a:p>
            <a:pPr lvl="0"/>
            <a:r>
              <a:rPr lang="en-US" b="1" dirty="0"/>
              <a:t>Scarce and expensive talent </a:t>
            </a:r>
            <a:r>
              <a:rPr lang="en-US" dirty="0"/>
              <a:t>— The ongoing talent crisis is another area that hits MSEs particularly hard in that they already struggle to compete on the talent stage. Compensation is still widely considered the No. 1 driver for attracting talent. MSEs do not traditionally contend well here. This is further complicated by worker expectations that changed during the pandemic, adding to the challenges already being faced by MSE.</a:t>
            </a:r>
          </a:p>
          <a:p>
            <a:pPr lvl="0"/>
            <a:r>
              <a:rPr lang="en-US" b="1" dirty="0"/>
              <a:t>Global supply chain challenges </a:t>
            </a:r>
            <a:r>
              <a:rPr lang="en-US" dirty="0"/>
              <a:t>— The inability to procure equipment impacts MSEs in a myriad of ways (opening new locations, expanding operations, etc.) and stands to affect a larger portion of their smaller pool of projects. As with the other two factors, these challenges tend to more profoundly affect MSEs</a:t>
            </a:r>
          </a:p>
          <a:p>
            <a:pPr lvl="0"/>
            <a:endParaRPr lang="en-US" dirty="0"/>
          </a:p>
          <a:p>
            <a:r>
              <a:rPr lang="en-US" b="1" u="sng" dirty="0"/>
              <a:t>Recommended Reading</a:t>
            </a:r>
          </a:p>
          <a:p>
            <a:pPr marL="171450" indent="-171450">
              <a:buFont typeface="Arial" panose="020B0604020202020204" pitchFamily="34" charset="0"/>
              <a:buChar char="•"/>
            </a:pPr>
            <a:r>
              <a:rPr lang="en-US" dirty="0"/>
              <a:t>Quick Answer: How Do Midsize Enterprises Plan to Respond to Inflation? (G00775002)</a:t>
            </a:r>
          </a:p>
          <a:p>
            <a:pPr marL="171450" indent="-171450">
              <a:buFont typeface="Arial" panose="020B0604020202020204" pitchFamily="34" charset="0"/>
              <a:buChar char="•"/>
            </a:pPr>
            <a:r>
              <a:rPr lang="en-US" dirty="0"/>
              <a:t>Quick Answer: Optimize Your ERP Strategy During Economic Uncertainty (G00775596)</a:t>
            </a:r>
          </a:p>
          <a:p>
            <a:br>
              <a:rPr lang="en-US" dirty="0"/>
            </a:br>
            <a:r>
              <a:rPr lang="en-US" b="1" u="sng" dirty="0"/>
              <a:t>Evidence</a:t>
            </a:r>
          </a:p>
          <a:p>
            <a:r>
              <a:rPr lang="en-US" baseline="30000" dirty="0"/>
              <a:t>1 </a:t>
            </a:r>
            <a:r>
              <a:rPr lang="en-US" dirty="0"/>
              <a:t>Gartner Financial Services Business Priority Tracker, Aug 2022</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baseline="30000" dirty="0"/>
              <a:t>2</a:t>
            </a:r>
            <a:r>
              <a:rPr lang="en-US" dirty="0"/>
              <a:t> 2023 Gartner CIO and Technology Executive Survey</a:t>
            </a:r>
          </a:p>
          <a:p>
            <a:endParaRPr lang="en-US" dirty="0"/>
          </a:p>
        </p:txBody>
      </p:sp>
      <p:sp>
        <p:nvSpPr>
          <p:cNvPr id="3" name="Slide Image Placeholder 2">
            <a:extLst>
              <a:ext uri="{FF2B5EF4-FFF2-40B4-BE49-F238E27FC236}">
                <a16:creationId xmlns:a16="http://schemas.microsoft.com/office/drawing/2014/main" id="{3E81F3D2-B475-5F41-9E89-C3205E7C80D0}"/>
              </a:ext>
            </a:extLst>
          </p:cNvPr>
          <p:cNvSpPr>
            <a:spLocks noGrp="1" noRot="1" noChangeAspect="1"/>
          </p:cNvSpPr>
          <p:nvPr>
            <p:ph type="sldImg"/>
          </p:nvPr>
        </p:nvSpPr>
        <p:spPr>
          <a:xfrm>
            <a:off x="1333500" y="658813"/>
            <a:ext cx="4191000" cy="2357437"/>
          </a:xfrm>
        </p:spPr>
      </p:sp>
    </p:spTree>
    <p:extLst>
      <p:ext uri="{BB962C8B-B14F-4D97-AF65-F5344CB8AC3E}">
        <p14:creationId xmlns:p14="http://schemas.microsoft.com/office/powerpoint/2010/main" val="36143171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3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36028393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41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462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99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284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766617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735856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3827290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1157396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p:txBody>
          <a:bodyPr/>
          <a:lstStyle>
            <a:lvl1pPr marL="365760" indent="-365760">
              <a:buClrTx/>
              <a:buFont typeface="+mj-lt"/>
              <a:buAutoNum type="arabicPeriod"/>
              <a:defRPr>
                <a:solidFill>
                  <a:srgbClr val="979D9D"/>
                </a:solidFill>
              </a:defRPr>
            </a:lvl1pPr>
            <a:lvl2pPr marL="859536">
              <a:buClr>
                <a:srgbClr val="979D9D"/>
              </a:buClr>
              <a:defRPr>
                <a:solidFill>
                  <a:srgbClr val="979D9D"/>
                </a:solidFill>
              </a:defRPr>
            </a:lvl2pPr>
            <a:lvl3pPr marL="1298448">
              <a:buClr>
                <a:srgbClr val="979D9D"/>
              </a:buClr>
              <a:defRPr>
                <a:solidFill>
                  <a:srgbClr val="979D9D"/>
                </a:solidFill>
              </a:defRPr>
            </a:lvl3pPr>
            <a:lvl4pPr marL="1792224">
              <a:buClr>
                <a:srgbClr val="979D9D"/>
              </a:buClr>
              <a:defRPr>
                <a:solidFill>
                  <a:srgbClr val="979D9D"/>
                </a:solidFill>
              </a:defRPr>
            </a:lvl4pPr>
            <a:lvl5pPr marL="2231136">
              <a:buClr>
                <a:srgbClr val="979D9D"/>
              </a:buClr>
              <a:defRPr>
                <a:solidFill>
                  <a:srgbClr val="979D9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15529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hasCustomPrompt="1"/>
          </p:nvPr>
        </p:nvSpPr>
        <p:spPr/>
        <p:txBody>
          <a:bodyPr/>
          <a:lstStyle>
            <a:lvl1pPr marL="457200" indent="-457200">
              <a:buSzPct val="130000"/>
              <a:buFontTx/>
              <a:buBlip>
                <a:blip r:embed="rId2">
                  <a:extLst>
                    <a:ext uri="{96DAC541-7B7A-43D3-8B79-37D633B846F1}">
                      <asvg:svgBlip xmlns:asvg="http://schemas.microsoft.com/office/drawing/2016/SVG/main" r:embed="rId3"/>
                    </a:ext>
                  </a:extLst>
                </a:blip>
              </a:buBlip>
              <a:defRPr/>
            </a:lvl1pPr>
            <a:lvl2pPr marL="950976">
              <a:defRPr/>
            </a:lvl2pPr>
            <a:lvl3pPr marL="1389888">
              <a:defRPr/>
            </a:lvl3pPr>
            <a:lvl4pPr marL="1883664">
              <a:defRPr/>
            </a:lvl4pPr>
            <a:lvl5pPr marL="2322576">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47820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3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1909068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457200" y="1527175"/>
            <a:ext cx="11276013" cy="4460873"/>
          </a:xfrm>
        </p:spPr>
        <p:txBody>
          <a:bodyPr/>
          <a:lstStyle>
            <a:lvl1pPr marL="457200" indent="-457200">
              <a:buClr>
                <a:schemeClr val="tx2"/>
              </a:buClr>
              <a:buSzPct val="130000"/>
              <a:buFontTx/>
              <a:buBlip>
                <a:blip r:embed="rId2">
                  <a:extLst>
                    <a:ext uri="{96DAC541-7B7A-43D3-8B79-37D633B846F1}">
                      <asvg:svgBlip xmlns:asvg="http://schemas.microsoft.com/office/drawing/2016/SVG/main" r:embed="rId3"/>
                    </a:ext>
                  </a:extLst>
                </a:blip>
              </a:buBlip>
              <a:defRPr/>
            </a:lvl1pPr>
            <a:lvl2pPr marL="950976">
              <a:buClrTx/>
              <a:defRPr/>
            </a:lvl2pPr>
            <a:lvl3pPr marL="1389888">
              <a:buClrTx/>
              <a:defRPr/>
            </a:lvl3pPr>
            <a:lvl4pPr marL="1883664">
              <a:buClrTx/>
              <a:defRPr/>
            </a:lvl4pPr>
            <a:lvl5pPr marL="2322576">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5005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07"/>
        <p:cNvGrpSpPr/>
        <p:nvPr/>
      </p:nvGrpSpPr>
      <p:grpSpPr>
        <a:xfrm>
          <a:off x="0" y="0"/>
          <a:ext cx="0" cy="0"/>
          <a:chOff x="0" y="0"/>
          <a:chExt cx="0" cy="0"/>
        </a:xfrm>
      </p:grpSpPr>
      <p:sp>
        <p:nvSpPr>
          <p:cNvPr id="208" name="Google Shape;208;p152"/>
          <p:cNvSpPr txBox="1">
            <a:spLocks noGrp="1"/>
          </p:cNvSpPr>
          <p:nvPr>
            <p:ph type="title"/>
          </p:nvPr>
        </p:nvSpPr>
        <p:spPr>
          <a:xfrm>
            <a:off x="457200" y="366714"/>
            <a:ext cx="11276013" cy="443197"/>
          </a:xfrm>
          <a:prstGeom prst="rect">
            <a:avLst/>
          </a:prstGeom>
          <a:noFill/>
          <a:ln>
            <a:noFill/>
          </a:ln>
        </p:spPr>
        <p:txBody>
          <a:bodyPr spcFirstLastPara="1" wrap="square" lIns="0" tIns="0" rIns="0" bIns="0" anchor="t" anchorCtr="0">
            <a:noAutofit/>
          </a:bodyPr>
          <a:lstStyle>
            <a:lvl1pPr lvl="0" algn="l">
              <a:lnSpc>
                <a:spcPct val="90000"/>
              </a:lnSpc>
              <a:spcBef>
                <a:spcPts val="1200"/>
              </a:spcBef>
              <a:spcAft>
                <a:spcPts val="0"/>
              </a:spcAft>
              <a:buClr>
                <a:schemeClr val="dk2"/>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 name="Google Shape;11;p91">
            <a:extLst>
              <a:ext uri="{FF2B5EF4-FFF2-40B4-BE49-F238E27FC236}">
                <a16:creationId xmlns:a16="http://schemas.microsoft.com/office/drawing/2014/main" id="{F4157588-5BEE-448A-A7AE-234C92B1098D}"/>
              </a:ext>
            </a:extLst>
          </p:cNvPr>
          <p:cNvSpPr txBox="1">
            <a:spLocks noGrp="1"/>
          </p:cNvSpPr>
          <p:nvPr>
            <p:ph type="sldNum" idx="4"/>
          </p:nvPr>
        </p:nvSpPr>
        <p:spPr>
          <a:xfrm>
            <a:off x="487680" y="6386467"/>
            <a:ext cx="172800" cy="279200"/>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600"/>
              <a:buFont typeface="Arial"/>
              <a:buNone/>
              <a:defRPr sz="800" b="0" i="0" u="none" strike="noStrike" cap="none">
                <a:solidFill>
                  <a:schemeClr val="dk1"/>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971588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9686167" y="5975402"/>
            <a:ext cx="2057400"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3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613270741"/>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194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125331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3711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635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6085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8952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25696"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355578"/>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5910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2789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4110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a:t>Click to edit title</a:t>
            </a:r>
          </a:p>
        </p:txBody>
      </p:sp>
      <p:sp>
        <p:nvSpPr>
          <p:cNvPr id="3" name="Content Placeholder 2"/>
          <p:cNvSpPr>
            <a:spLocks noGrp="1"/>
          </p:cNvSpPr>
          <p:nvPr>
            <p:ph sz="half" idx="1" hasCustomPrompt="1"/>
          </p:nvPr>
        </p:nvSpPr>
        <p:spPr>
          <a:xfrm>
            <a:off x="457200"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3348482"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355578"/>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857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B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 Max.</a:t>
            </a:r>
            <a:br>
              <a:rPr lang="en-US"/>
            </a:br>
            <a:r>
              <a:rPr lang="en-US"/>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1848850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0A68FFD-9422-AD48-96B9-A164E1A79E21}"/>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3" name="Text Placeholder 2">
            <a:extLst>
              <a:ext uri="{FF2B5EF4-FFF2-40B4-BE49-F238E27FC236}">
                <a16:creationId xmlns:a16="http://schemas.microsoft.com/office/drawing/2014/main" id="{01906285-85F2-BB4E-BA6A-9804659FC9B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218557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C1B8D32-229C-DC4A-BA04-F2B64E28B5EC}"/>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4" name="Text Placeholder 2">
            <a:extLst>
              <a:ext uri="{FF2B5EF4-FFF2-40B4-BE49-F238E27FC236}">
                <a16:creationId xmlns:a16="http://schemas.microsoft.com/office/drawing/2014/main" id="{050C34B8-7526-044F-B179-517E7649638E}"/>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687632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35267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gure 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3">
            <a:extLst>
              <a:ext uri="{FF2B5EF4-FFF2-40B4-BE49-F238E27FC236}">
                <a16:creationId xmlns:a16="http://schemas.microsoft.com/office/drawing/2014/main" id="{3F5EAD9C-9579-E647-BFE6-AB7F9D290F88}"/>
              </a:ext>
            </a:extLst>
          </p:cNvPr>
          <p:cNvSpPr>
            <a:spLocks noGrp="1"/>
          </p:cNvSpPr>
          <p:nvPr>
            <p:ph type="body" sz="quarter" idx="10" hasCustomPrompt="1"/>
          </p:nvPr>
        </p:nvSpPr>
        <p:spPr>
          <a:xfrm>
            <a:off x="468489" y="868002"/>
            <a:ext cx="11274425"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dirty="0"/>
              <a:t>Figure Title</a:t>
            </a:r>
          </a:p>
        </p:txBody>
      </p:sp>
      <p:sp>
        <p:nvSpPr>
          <p:cNvPr id="4" name="Text Placeholder 3">
            <a:extLst>
              <a:ext uri="{FF2B5EF4-FFF2-40B4-BE49-F238E27FC236}">
                <a16:creationId xmlns:a16="http://schemas.microsoft.com/office/drawing/2014/main" id="{10B0379F-E75B-774A-A81E-F074F0F69882}"/>
              </a:ext>
            </a:extLst>
          </p:cNvPr>
          <p:cNvSpPr>
            <a:spLocks noGrp="1"/>
          </p:cNvSpPr>
          <p:nvPr>
            <p:ph type="body" sz="quarter" idx="11" hasCustomPrompt="1"/>
          </p:nvPr>
        </p:nvSpPr>
        <p:spPr>
          <a:xfrm>
            <a:off x="468489" y="1149177"/>
            <a:ext cx="11274425"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dirty="0"/>
              <a:t>Subtitle</a:t>
            </a:r>
          </a:p>
        </p:txBody>
      </p:sp>
    </p:spTree>
    <p:extLst>
      <p:ext uri="{BB962C8B-B14F-4D97-AF65-F5344CB8AC3E}">
        <p14:creationId xmlns:p14="http://schemas.microsoft.com/office/powerpoint/2010/main" val="38152168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igure Title 2 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3">
            <a:extLst>
              <a:ext uri="{FF2B5EF4-FFF2-40B4-BE49-F238E27FC236}">
                <a16:creationId xmlns:a16="http://schemas.microsoft.com/office/drawing/2014/main" id="{B0F7A62B-7869-3E49-B4C0-1F2B79D96505}"/>
              </a:ext>
            </a:extLst>
          </p:cNvPr>
          <p:cNvSpPr>
            <a:spLocks noGrp="1"/>
          </p:cNvSpPr>
          <p:nvPr>
            <p:ph type="body" sz="quarter" idx="10" hasCustomPrompt="1"/>
          </p:nvPr>
        </p:nvSpPr>
        <p:spPr>
          <a:xfrm>
            <a:off x="468489" y="863613"/>
            <a:ext cx="548640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dirty="0"/>
              <a:t>Figure Title</a:t>
            </a:r>
          </a:p>
        </p:txBody>
      </p:sp>
      <p:sp>
        <p:nvSpPr>
          <p:cNvPr id="6" name="Text Placeholder 3">
            <a:extLst>
              <a:ext uri="{FF2B5EF4-FFF2-40B4-BE49-F238E27FC236}">
                <a16:creationId xmlns:a16="http://schemas.microsoft.com/office/drawing/2014/main" id="{C38A6BCD-80DB-0E40-AC77-0F5146A7AACE}"/>
              </a:ext>
            </a:extLst>
          </p:cNvPr>
          <p:cNvSpPr>
            <a:spLocks noGrp="1"/>
          </p:cNvSpPr>
          <p:nvPr>
            <p:ph type="body" sz="quarter" idx="11" hasCustomPrompt="1"/>
          </p:nvPr>
        </p:nvSpPr>
        <p:spPr>
          <a:xfrm>
            <a:off x="468489" y="1144788"/>
            <a:ext cx="548640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dirty="0"/>
              <a:t>Subtitle</a:t>
            </a:r>
          </a:p>
        </p:txBody>
      </p:sp>
      <p:sp>
        <p:nvSpPr>
          <p:cNvPr id="7" name="Text Placeholder 3">
            <a:extLst>
              <a:ext uri="{FF2B5EF4-FFF2-40B4-BE49-F238E27FC236}">
                <a16:creationId xmlns:a16="http://schemas.microsoft.com/office/drawing/2014/main" id="{CA5B0FB6-DB25-5445-BF07-47F103EA9ED5}"/>
              </a:ext>
            </a:extLst>
          </p:cNvPr>
          <p:cNvSpPr>
            <a:spLocks noGrp="1"/>
          </p:cNvSpPr>
          <p:nvPr>
            <p:ph type="body" sz="quarter" idx="13" hasCustomPrompt="1"/>
          </p:nvPr>
        </p:nvSpPr>
        <p:spPr>
          <a:xfrm>
            <a:off x="6248402" y="863613"/>
            <a:ext cx="5486400" cy="247580"/>
          </a:xfrm>
          <a:prstGeom prst="rect">
            <a:avLst/>
          </a:prstGeom>
        </p:spPr>
        <p:txBody>
          <a:bodyPr lIns="0" tIns="0" rIns="0" bIns="0"/>
          <a:lstStyle>
            <a:lvl1pPr marL="0" indent="0">
              <a:buNone/>
              <a:defRPr sz="1800" b="1"/>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dirty="0"/>
              <a:t>Figure Title</a:t>
            </a:r>
          </a:p>
        </p:txBody>
      </p:sp>
      <p:sp>
        <p:nvSpPr>
          <p:cNvPr id="8" name="Text Placeholder 3">
            <a:extLst>
              <a:ext uri="{FF2B5EF4-FFF2-40B4-BE49-F238E27FC236}">
                <a16:creationId xmlns:a16="http://schemas.microsoft.com/office/drawing/2014/main" id="{628402AF-FA2F-0A4C-A42A-6F851347A0BD}"/>
              </a:ext>
            </a:extLst>
          </p:cNvPr>
          <p:cNvSpPr>
            <a:spLocks noGrp="1"/>
          </p:cNvSpPr>
          <p:nvPr>
            <p:ph type="body" sz="quarter" idx="14" hasCustomPrompt="1"/>
          </p:nvPr>
        </p:nvSpPr>
        <p:spPr>
          <a:xfrm>
            <a:off x="6248402" y="1144788"/>
            <a:ext cx="5486400" cy="247580"/>
          </a:xfrm>
          <a:prstGeom prst="rect">
            <a:avLst/>
          </a:prstGeom>
        </p:spPr>
        <p:txBody>
          <a:bodyPr lIns="0" tIns="0" rIns="0" bIns="0"/>
          <a:lstStyle>
            <a:lvl1pPr marL="0" indent="0">
              <a:buNone/>
              <a:defRPr sz="1800"/>
            </a:lvl1pPr>
            <a:lvl2pPr marL="428625" indent="0">
              <a:buNone/>
              <a:defRPr sz="1400"/>
            </a:lvl2pPr>
            <a:lvl3pPr marL="927100" indent="0">
              <a:buNone/>
              <a:defRPr sz="1400"/>
            </a:lvl3pPr>
            <a:lvl4pPr marL="1357313" indent="0">
              <a:buNone/>
              <a:defRPr sz="1400"/>
            </a:lvl4pPr>
            <a:lvl5pPr marL="1857375" indent="0">
              <a:buNone/>
              <a:defRPr sz="1400"/>
            </a:lvl5pPr>
          </a:lstStyle>
          <a:p>
            <a:pPr lvl="0"/>
            <a:r>
              <a:rPr lang="en-US" dirty="0"/>
              <a:t>Subtitle</a:t>
            </a:r>
          </a:p>
        </p:txBody>
      </p:sp>
    </p:spTree>
    <p:extLst>
      <p:ext uri="{BB962C8B-B14F-4D97-AF65-F5344CB8AC3E}">
        <p14:creationId xmlns:p14="http://schemas.microsoft.com/office/powerpoint/2010/main" val="4137729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885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4041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783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dirty="0">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377813297"/>
      </p:ext>
    </p:extLst>
  </p:cSld>
  <p:clrMap bg1="lt1" tx1="dk1" bg2="lt2" tx2="dk2" accent1="accent1" accent2="accent2" accent3="accent3" accent4="accent4" accent5="accent5" accent6="accent6" hlink="hlink" folHlink="folHlink"/>
  <p:sldLayoutIdLst>
    <p:sldLayoutId id="2147483852" r:id="rId1"/>
    <p:sldLayoutId id="2147483929" r:id="rId2"/>
    <p:sldLayoutId id="2147483854" r:id="rId3"/>
    <p:sldLayoutId id="2147483855" r:id="rId4"/>
    <p:sldLayoutId id="2147483952" r:id="rId5"/>
    <p:sldLayoutId id="2147483953" r:id="rId6"/>
    <p:sldLayoutId id="2147483856" r:id="rId7"/>
    <p:sldLayoutId id="2147483857" r:id="rId8"/>
    <p:sldLayoutId id="2147483858" r:id="rId9"/>
    <p:sldLayoutId id="2147483859" r:id="rId10"/>
    <p:sldLayoutId id="2147483860" r:id="rId11"/>
    <p:sldLayoutId id="2147483943" r:id="rId12"/>
    <p:sldLayoutId id="2147483944" r:id="rId13"/>
    <p:sldLayoutId id="2147483863" r:id="rId14"/>
    <p:sldLayoutId id="2147483864" r:id="rId15"/>
    <p:sldLayoutId id="2147483867" r:id="rId16"/>
    <p:sldLayoutId id="2147483941" r:id="rId17"/>
    <p:sldLayoutId id="2147483947" r:id="rId18"/>
    <p:sldLayoutId id="2147483948" r:id="rId19"/>
    <p:sldLayoutId id="2147483949" r:id="rId20"/>
    <p:sldLayoutId id="2147483950" r:id="rId21"/>
    <p:sldLayoutId id="2147483951" r:id="rId22"/>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Arial Black" panose="020B0A04020102020204" pitchFamily="34" charset="0"/>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userDrawn="1">
          <p15:clr>
            <a:srgbClr val="A4A3A4"/>
          </p15:clr>
        </p15:guide>
        <p15:guide id="15" pos="3840" userDrawn="1">
          <p15:clr>
            <a:srgbClr val="A4A3A4"/>
          </p15:clr>
        </p15:guide>
        <p15:guide id="16" orient="horz" pos="228" userDrawn="1">
          <p15:clr>
            <a:srgbClr val="5ACBF0"/>
          </p15:clr>
        </p15:guide>
        <p15:guide id="17" orient="horz" pos="537" userDrawn="1">
          <p15:clr>
            <a:srgbClr val="FDE53C"/>
          </p15:clr>
        </p15:guide>
        <p15:guide id="18" orient="horz" pos="848" userDrawn="1">
          <p15:clr>
            <a:srgbClr val="FDE53C"/>
          </p15:clr>
        </p15:guide>
        <p15:guide id="19" orient="horz" pos="960" userDrawn="1">
          <p15:clr>
            <a:srgbClr val="5ACBF0"/>
          </p15:clr>
        </p15:guide>
        <p15:guide id="20" orient="horz" pos="3773" userDrawn="1">
          <p15:clr>
            <a:srgbClr val="FBAE40"/>
          </p15:clr>
        </p15:guide>
        <p15:guide id="21" orient="horz" pos="4001" userDrawn="1">
          <p15:clr>
            <a:srgbClr val="5ACBF0"/>
          </p15:clr>
        </p15:guide>
        <p15:guide id="22" orient="horz" pos="4113" userDrawn="1">
          <p15:clr>
            <a:srgbClr val="5ACBF0"/>
          </p15:clr>
        </p15:guide>
        <p15:guide id="23" pos="288" userDrawn="1">
          <p15:clr>
            <a:srgbClr val="5ACBF0"/>
          </p15:clr>
        </p15:guide>
        <p15:guide id="24" pos="3756" userDrawn="1">
          <p15:clr>
            <a:srgbClr val="5ACBF0"/>
          </p15:clr>
        </p15:guide>
        <p15:guide id="25" pos="3927" userDrawn="1">
          <p15:clr>
            <a:srgbClr val="5ACBF0"/>
          </p15:clr>
        </p15:guide>
        <p15:guide id="26" pos="7394" userDrawn="1">
          <p15:clr>
            <a:srgbClr val="5ACBF0"/>
          </p15:clr>
        </p15:guide>
        <p15:guide id="27" orient="horz" pos="3969"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12994"/>
            <a:ext cx="2313432" cy="96950"/>
          </a:xfrm>
          <a:prstGeom prst="rect">
            <a:avLst/>
          </a:prstGeom>
          <a:noFill/>
        </p:spPr>
        <p:txBody>
          <a:bodyPr wrap="square" lIns="0" tIns="0" rIns="0" bIns="0" rtlCol="0" anchor="b" anchorCtr="0">
            <a:spAutoFit/>
          </a:bodyPr>
          <a:lstStyle>
            <a:defPPr>
              <a:defRPr lang="en-US"/>
            </a:defPPr>
            <a:lvl1pPr>
              <a:lnSpc>
                <a:spcPct val="100000"/>
              </a:lnSpc>
              <a:spcBef>
                <a:spcPts val="0"/>
              </a:spcBef>
              <a:spcAft>
                <a:spcPts val="0"/>
              </a:spcAft>
              <a:defRPr sz="700" b="1"/>
            </a:lvl1pPr>
          </a:lstStyle>
          <a:p>
            <a:pPr lvl="0"/>
            <a:r>
              <a:rPr lang="en-US" dirty="0"/>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3 Gartner, Inc. and/or its affiliates. All rights reserved.				</a:t>
            </a:r>
          </a:p>
        </p:txBody>
      </p:sp>
      <p:pic>
        <p:nvPicPr>
          <p:cNvPr id="8" name="Picture 7">
            <a:extLst>
              <a:ext uri="{FF2B5EF4-FFF2-40B4-BE49-F238E27FC236}">
                <a16:creationId xmlns:a16="http://schemas.microsoft.com/office/drawing/2014/main" id="{7691A022-4AA8-4AE4-97E5-9A634D272F0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453051" y="6242938"/>
            <a:ext cx="1280161" cy="291370"/>
          </a:xfrm>
          <a:prstGeom prst="rect">
            <a:avLst/>
          </a:prstGeom>
        </p:spPr>
      </p:pic>
    </p:spTree>
    <p:extLst>
      <p:ext uri="{BB962C8B-B14F-4D97-AF65-F5344CB8AC3E}">
        <p14:creationId xmlns:p14="http://schemas.microsoft.com/office/powerpoint/2010/main" val="358496023"/>
      </p:ext>
    </p:extLst>
  </p:cSld>
  <p:clrMap bg1="dk1" tx1="lt1" bg2="dk2" tx2="lt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945" r:id="rId8"/>
    <p:sldLayoutId id="2147483946" r:id="rId9"/>
    <p:sldLayoutId id="2147483882" r:id="rId10"/>
    <p:sldLayoutId id="2147483884" r:id="rId11"/>
    <p:sldLayoutId id="2147483942" r:id="rId12"/>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Arial Black" panose="020B0A04020102020204" pitchFamily="34" charset="0"/>
          <a:ea typeface="+mj-ea"/>
          <a:cs typeface="+mj-cs"/>
        </a:defRPr>
      </a:lvl1pPr>
    </p:titleStyle>
    <p:bodyStyle>
      <a:lvl1pPr marL="246888"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chart" Target="../charts/chart8.xml"/></Relationships>
</file>

<file path=ppt/slides/_rels/slide1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chart" Target="../charts/char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chart" Target="../charts/chart1.xml"/><Relationship Id="rId4"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hyperlink" Target="https://www.gartner.com/document/4010828" TargetMode="External"/><Relationship Id="rId3" Type="http://schemas.openxmlformats.org/officeDocument/2006/relationships/hyperlink" Target="https://www.gartner.com/document/4021995" TargetMode="External"/><Relationship Id="rId7" Type="http://schemas.openxmlformats.org/officeDocument/2006/relationships/hyperlink" Target="https://www.gartner.com/document/4155299" TargetMode="Externa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hyperlink" Target="https://www.gartner.com/document/4020123" TargetMode="External"/><Relationship Id="rId5" Type="http://schemas.openxmlformats.org/officeDocument/2006/relationships/hyperlink" Target="https://www.gartner.com/document/4013664" TargetMode="External"/><Relationship Id="rId4" Type="http://schemas.openxmlformats.org/officeDocument/2006/relationships/hyperlink" Target="https://www.gartner.com/document/code/766054"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chart" Target="../charts/char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F78003-46EC-791C-4ACA-A43AA1CF3805}"/>
              </a:ext>
            </a:extLst>
          </p:cNvPr>
          <p:cNvSpPr>
            <a:spLocks noGrp="1"/>
          </p:cNvSpPr>
          <p:nvPr>
            <p:ph type="body" sz="quarter" idx="10"/>
          </p:nvPr>
        </p:nvSpPr>
        <p:spPr>
          <a:xfrm>
            <a:off x="2166861" y="3804785"/>
            <a:ext cx="4545024" cy="276999"/>
          </a:xfrm>
        </p:spPr>
        <p:txBody>
          <a:bodyPr/>
          <a:lstStyle/>
          <a:p>
            <a:r>
              <a:rPr lang="en-US" dirty="0"/>
              <a:t>Joseph Provenza</a:t>
            </a:r>
          </a:p>
        </p:txBody>
      </p:sp>
      <p:sp>
        <p:nvSpPr>
          <p:cNvPr id="2" name="Title 1">
            <a:extLst>
              <a:ext uri="{FF2B5EF4-FFF2-40B4-BE49-F238E27FC236}">
                <a16:creationId xmlns:a16="http://schemas.microsoft.com/office/drawing/2014/main" id="{3B3A363F-9186-AEE0-FE32-E505FA2C921C}"/>
              </a:ext>
            </a:extLst>
          </p:cNvPr>
          <p:cNvSpPr>
            <a:spLocks noGrp="1"/>
          </p:cNvSpPr>
          <p:nvPr>
            <p:ph type="ctrTitle"/>
          </p:nvPr>
        </p:nvSpPr>
        <p:spPr/>
        <p:txBody>
          <a:bodyPr/>
          <a:lstStyle/>
          <a:p>
            <a:r>
              <a:rPr lang="en-US" dirty="0">
                <a:solidFill>
                  <a:schemeClr val="tx1"/>
                </a:solidFill>
              </a:rPr>
              <a:t>Leadership Vision for 2023: Midsize Enterprise CIO</a:t>
            </a:r>
          </a:p>
        </p:txBody>
      </p:sp>
    </p:spTree>
    <p:extLst>
      <p:ext uri="{BB962C8B-B14F-4D97-AF65-F5344CB8AC3E}">
        <p14:creationId xmlns:p14="http://schemas.microsoft.com/office/powerpoint/2010/main" val="28406731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PPRChart Half">
            <a:extLst>
              <a:ext uri="{FF2B5EF4-FFF2-40B4-BE49-F238E27FC236}">
                <a16:creationId xmlns:a16="http://schemas.microsoft.com/office/drawing/2014/main" id="{8B8FA1B1-0EA7-D640-7C94-510917C15514}"/>
              </a:ext>
            </a:extLst>
          </p:cNvPr>
          <p:cNvGraphicFramePr/>
          <p:nvPr>
            <p:extLst>
              <p:ext uri="{D42A27DB-BD31-4B8C-83A1-F6EECF244321}">
                <p14:modId xmlns:p14="http://schemas.microsoft.com/office/powerpoint/2010/main" val="2960588445"/>
              </p:ext>
            </p:extLst>
          </p:nvPr>
        </p:nvGraphicFramePr>
        <p:xfrm>
          <a:off x="457200" y="2806317"/>
          <a:ext cx="5487988" cy="26083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PPRChart Half">
            <a:extLst>
              <a:ext uri="{FF2B5EF4-FFF2-40B4-BE49-F238E27FC236}">
                <a16:creationId xmlns:a16="http://schemas.microsoft.com/office/drawing/2014/main" id="{6FB30F0D-1345-2E60-476D-594FB50888CB}"/>
              </a:ext>
            </a:extLst>
          </p:cNvPr>
          <p:cNvGraphicFramePr/>
          <p:nvPr>
            <p:extLst>
              <p:ext uri="{D42A27DB-BD31-4B8C-83A1-F6EECF244321}">
                <p14:modId xmlns:p14="http://schemas.microsoft.com/office/powerpoint/2010/main" val="3217387811"/>
              </p:ext>
            </p:extLst>
          </p:nvPr>
        </p:nvGraphicFramePr>
        <p:xfrm>
          <a:off x="6246812" y="2806317"/>
          <a:ext cx="5481637" cy="2608312"/>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1">
            <a:extLst>
              <a:ext uri="{FF2B5EF4-FFF2-40B4-BE49-F238E27FC236}">
                <a16:creationId xmlns:a16="http://schemas.microsoft.com/office/drawing/2014/main" id="{7C6E7227-DB95-4314-BB99-5DAD1A28B338}"/>
              </a:ext>
            </a:extLst>
          </p:cNvPr>
          <p:cNvSpPr txBox="1"/>
          <p:nvPr/>
        </p:nvSpPr>
        <p:spPr>
          <a:xfrm>
            <a:off x="463550" y="2237456"/>
            <a:ext cx="5499100" cy="430887"/>
          </a:xfrm>
          <a:prstGeom prst="rect">
            <a:avLst/>
          </a:prstGeom>
          <a:solidFill>
            <a:srgbClr val="F4F4F4"/>
          </a:solidFill>
        </p:spPr>
        <p:txBody>
          <a:bodyPr wrap="square" lIns="91440" tIns="91440" rIns="91440" bIns="9144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400" b="0" i="0" u="none" strike="noStrike" kern="1200" spc="0" baseline="0">
                <a:solidFill>
                  <a:prstClr val="black">
                    <a:lumMod val="65000"/>
                    <a:lumOff val="35000"/>
                  </a:prstClr>
                </a:solidFill>
                <a:latin typeface="+mn-lt"/>
                <a:ea typeface="+mn-ea"/>
                <a:cs typeface="+mn-cs"/>
              </a:defRPr>
            </a:pPr>
            <a:r>
              <a:rPr lang="en-US" sz="1600" b="1" dirty="0">
                <a:solidFill>
                  <a:srgbClr val="000000"/>
                </a:solidFill>
                <a:cs typeface="Arial" panose="020B0604020202020204" pitchFamily="34" charset="0"/>
              </a:rPr>
              <a:t>IT Employees</a:t>
            </a:r>
            <a:endParaRPr lang="en-US" sz="1600" dirty="0">
              <a:solidFill>
                <a:srgbClr val="000000"/>
              </a:solidFill>
            </a:endParaRPr>
          </a:p>
        </p:txBody>
      </p:sp>
      <p:sp>
        <p:nvSpPr>
          <p:cNvPr id="8" name="TextBox 1">
            <a:extLst>
              <a:ext uri="{FF2B5EF4-FFF2-40B4-BE49-F238E27FC236}">
                <a16:creationId xmlns:a16="http://schemas.microsoft.com/office/drawing/2014/main" id="{9F4A8807-8D50-444F-8203-F9E8CC56E990}"/>
              </a:ext>
            </a:extLst>
          </p:cNvPr>
          <p:cNvSpPr txBox="1"/>
          <p:nvPr/>
        </p:nvSpPr>
        <p:spPr>
          <a:xfrm>
            <a:off x="6246813" y="2239926"/>
            <a:ext cx="5496101" cy="430887"/>
          </a:xfrm>
          <a:prstGeom prst="rect">
            <a:avLst/>
          </a:prstGeom>
          <a:solidFill>
            <a:srgbClr val="F4F4F4"/>
          </a:solidFill>
        </p:spPr>
        <p:txBody>
          <a:bodyPr wrap="square" lIns="91440" tIns="91440" rIns="91440" bIns="9144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400" b="0" i="0" u="none" strike="noStrike" kern="1200" spc="0" baseline="0">
                <a:solidFill>
                  <a:prstClr val="black">
                    <a:lumMod val="65000"/>
                    <a:lumOff val="35000"/>
                  </a:prstClr>
                </a:solidFill>
                <a:latin typeface="+mn-lt"/>
                <a:ea typeface="+mn-ea"/>
                <a:cs typeface="+mn-cs"/>
              </a:defRPr>
            </a:pPr>
            <a:r>
              <a:rPr lang="en-US" sz="1600" b="1" dirty="0">
                <a:solidFill>
                  <a:srgbClr val="000000"/>
                </a:solidFill>
                <a:cs typeface="Arial" panose="020B0604020202020204" pitchFamily="34" charset="0"/>
              </a:rPr>
              <a:t>Non-IT Employees</a:t>
            </a:r>
            <a:endParaRPr lang="en-US" sz="1600" dirty="0">
              <a:solidFill>
                <a:srgbClr val="000000"/>
              </a:solidFill>
            </a:endParaRPr>
          </a:p>
        </p:txBody>
      </p:sp>
      <p:sp>
        <p:nvSpPr>
          <p:cNvPr id="15" name="Title 14">
            <a:extLst>
              <a:ext uri="{FF2B5EF4-FFF2-40B4-BE49-F238E27FC236}">
                <a16:creationId xmlns:a16="http://schemas.microsoft.com/office/drawing/2014/main" id="{59713EF5-D80B-DA7E-3B74-B179DB5FD323}"/>
              </a:ext>
            </a:extLst>
          </p:cNvPr>
          <p:cNvSpPr>
            <a:spLocks noGrp="1"/>
          </p:cNvSpPr>
          <p:nvPr>
            <p:ph type="title"/>
          </p:nvPr>
        </p:nvSpPr>
        <p:spPr/>
        <p:txBody>
          <a:bodyPr/>
          <a:lstStyle/>
          <a:p>
            <a:r>
              <a:rPr lang="en-US" dirty="0"/>
              <a:t>Attracting and Retaining IT Talent Is Difficult</a:t>
            </a:r>
          </a:p>
        </p:txBody>
      </p:sp>
      <p:sp>
        <p:nvSpPr>
          <p:cNvPr id="16" name="Text Placeholder 15">
            <a:extLst>
              <a:ext uri="{FF2B5EF4-FFF2-40B4-BE49-F238E27FC236}">
                <a16:creationId xmlns:a16="http://schemas.microsoft.com/office/drawing/2014/main" id="{C7AB219C-15C7-10BB-507C-D9BDDAB9C550}"/>
              </a:ext>
            </a:extLst>
          </p:cNvPr>
          <p:cNvSpPr>
            <a:spLocks noGrp="1"/>
          </p:cNvSpPr>
          <p:nvPr>
            <p:ph type="body" sz="quarter" idx="10"/>
          </p:nvPr>
        </p:nvSpPr>
        <p:spPr/>
        <p:txBody>
          <a:bodyPr/>
          <a:lstStyle/>
          <a:p>
            <a:r>
              <a:rPr lang="en-US" dirty="0"/>
              <a:t>High Intent to Stay, 1Q20-4Q22</a:t>
            </a:r>
          </a:p>
        </p:txBody>
      </p:sp>
      <p:sp>
        <p:nvSpPr>
          <p:cNvPr id="22" name="Text Placeholder 21">
            <a:extLst>
              <a:ext uri="{FF2B5EF4-FFF2-40B4-BE49-F238E27FC236}">
                <a16:creationId xmlns:a16="http://schemas.microsoft.com/office/drawing/2014/main" id="{78671D7C-AA6E-93C7-57DF-1FBAE3065DF8}"/>
              </a:ext>
            </a:extLst>
          </p:cNvPr>
          <p:cNvSpPr>
            <a:spLocks noGrp="1"/>
          </p:cNvSpPr>
          <p:nvPr>
            <p:ph type="body" sz="quarter" idx="11"/>
          </p:nvPr>
        </p:nvSpPr>
        <p:spPr/>
        <p:txBody>
          <a:bodyPr/>
          <a:lstStyle/>
          <a:p>
            <a:r>
              <a:rPr lang="en-US" dirty="0"/>
              <a:t>Percentage of Employees With High Intent to Stay for MSE and LE</a:t>
            </a:r>
          </a:p>
        </p:txBody>
      </p:sp>
      <p:sp>
        <p:nvSpPr>
          <p:cNvPr id="21" name="Google Shape;366;p7">
            <a:extLst>
              <a:ext uri="{FF2B5EF4-FFF2-40B4-BE49-F238E27FC236}">
                <a16:creationId xmlns:a16="http://schemas.microsoft.com/office/drawing/2014/main" id="{6A54C887-6C48-7715-56CD-2982BB7E84D0}"/>
              </a:ext>
            </a:extLst>
          </p:cNvPr>
          <p:cNvSpPr/>
          <p:nvPr/>
        </p:nvSpPr>
        <p:spPr>
          <a:xfrm>
            <a:off x="463549" y="1536420"/>
            <a:ext cx="11274425" cy="461635"/>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solidFill>
            <a:srgbClr val="009AD7"/>
          </a:solidFill>
          <a:ln w="25400" cap="flat" cmpd="sng">
            <a:noFill/>
            <a:prstDash val="solid"/>
            <a:round/>
            <a:headEnd type="none" w="sm" len="sm"/>
            <a:tailEnd type="none" w="sm" len="sm"/>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b="1" i="0" u="none" strike="noStrike" cap="none" dirty="0">
                <a:solidFill>
                  <a:srgbClr val="000000"/>
                </a:solidFill>
                <a:latin typeface="Arial"/>
                <a:ea typeface="Arial"/>
                <a:cs typeface="Arial"/>
                <a:sym typeface="Arial"/>
              </a:rPr>
              <a:t>Two in three MSE IT employees </a:t>
            </a:r>
            <a:r>
              <a:rPr lang="en-US" b="0" i="0" u="none" strike="noStrike" cap="none" dirty="0">
                <a:solidFill>
                  <a:srgbClr val="000000"/>
                </a:solidFill>
                <a:latin typeface="Arial"/>
                <a:ea typeface="Arial"/>
                <a:cs typeface="Arial"/>
                <a:sym typeface="Arial"/>
              </a:rPr>
              <a:t>do not have a high intent to stay in their jobs.</a:t>
            </a:r>
          </a:p>
        </p:txBody>
      </p:sp>
      <p:sp>
        <p:nvSpPr>
          <p:cNvPr id="23" name="TextBox 22">
            <a:extLst>
              <a:ext uri="{FF2B5EF4-FFF2-40B4-BE49-F238E27FC236}">
                <a16:creationId xmlns:a16="http://schemas.microsoft.com/office/drawing/2014/main" id="{DB4EAD4C-6C79-F55C-6EF3-34666AEF9739}"/>
              </a:ext>
            </a:extLst>
          </p:cNvPr>
          <p:cNvSpPr txBox="1"/>
          <p:nvPr/>
        </p:nvSpPr>
        <p:spPr>
          <a:xfrm>
            <a:off x="457200" y="5712639"/>
            <a:ext cx="5499100" cy="584775"/>
          </a:xfrm>
          <a:prstGeom prst="rect">
            <a:avLst/>
          </a:prstGeom>
          <a:noFill/>
        </p:spPr>
        <p:txBody>
          <a:bodyPr wrap="square" lIns="0" tIns="91440" rIns="91440" bIns="91440" rtlCol="0" anchor="b">
            <a:spAutoFit/>
          </a:bodyPr>
          <a:lstStyle/>
          <a:p>
            <a:r>
              <a:rPr lang="en-US" sz="1400" dirty="0">
                <a:solidFill>
                  <a:prstClr val="black"/>
                </a:solidFill>
              </a:rPr>
              <a:t>n = 1,611 IT Employees (MSE — 565, LE — 1,046)</a:t>
            </a:r>
          </a:p>
          <a:p>
            <a:r>
              <a:rPr lang="en-US" sz="1200" dirty="0">
                <a:solidFill>
                  <a:prstClr val="black">
                    <a:lumMod val="50000"/>
                    <a:lumOff val="50000"/>
                  </a:prstClr>
                </a:solidFill>
                <a:cs typeface="Arial" panose="020B0604020202020204" pitchFamily="34" charset="0"/>
              </a:rPr>
              <a:t>Source: 1Q20-4Q22 Gartner Global Labor Market Surveys</a:t>
            </a:r>
          </a:p>
        </p:txBody>
      </p:sp>
      <p:sp>
        <p:nvSpPr>
          <p:cNvPr id="24" name="TextBox 23">
            <a:extLst>
              <a:ext uri="{FF2B5EF4-FFF2-40B4-BE49-F238E27FC236}">
                <a16:creationId xmlns:a16="http://schemas.microsoft.com/office/drawing/2014/main" id="{BC55F7BA-D759-EE5D-2568-ACAB6CC6ADD1}"/>
              </a:ext>
            </a:extLst>
          </p:cNvPr>
          <p:cNvSpPr txBox="1"/>
          <p:nvPr/>
        </p:nvSpPr>
        <p:spPr>
          <a:xfrm>
            <a:off x="6241056" y="5712639"/>
            <a:ext cx="5499100" cy="584775"/>
          </a:xfrm>
          <a:prstGeom prst="rect">
            <a:avLst/>
          </a:prstGeom>
          <a:noFill/>
        </p:spPr>
        <p:txBody>
          <a:bodyPr wrap="square" lIns="0" tIns="91440" rIns="91440" bIns="91440" rtlCol="0" anchor="b">
            <a:spAutoFit/>
          </a:bodyPr>
          <a:lstStyle/>
          <a:p>
            <a:r>
              <a:rPr lang="en-US" sz="1400" dirty="0">
                <a:solidFill>
                  <a:prstClr val="black"/>
                </a:solidFill>
              </a:rPr>
              <a:t>n = 16,398 Non-IT Employees (MSE — 9,363, LE — 7,035)</a:t>
            </a:r>
          </a:p>
          <a:p>
            <a:r>
              <a:rPr lang="en-US" sz="1200" dirty="0">
                <a:solidFill>
                  <a:prstClr val="black">
                    <a:lumMod val="50000"/>
                    <a:lumOff val="50000"/>
                  </a:prstClr>
                </a:solidFill>
                <a:cs typeface="Arial" panose="020B0604020202020204" pitchFamily="34" charset="0"/>
              </a:rPr>
              <a:t>Source: 1Q20-4Q22 Gartner Global Labor Market Surveys</a:t>
            </a:r>
          </a:p>
        </p:txBody>
      </p:sp>
      <p:sp>
        <p:nvSpPr>
          <p:cNvPr id="31" name="Google Shape;367;p7">
            <a:extLst>
              <a:ext uri="{FF2B5EF4-FFF2-40B4-BE49-F238E27FC236}">
                <a16:creationId xmlns:a16="http://schemas.microsoft.com/office/drawing/2014/main" id="{03FAF951-4422-8504-C495-CF2FC41C67DC}"/>
              </a:ext>
            </a:extLst>
          </p:cNvPr>
          <p:cNvSpPr/>
          <p:nvPr/>
        </p:nvSpPr>
        <p:spPr>
          <a:xfrm>
            <a:off x="1006969" y="5311583"/>
            <a:ext cx="568985" cy="34584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91440" rIns="0" bIns="0" anchor="t"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1Q20</a:t>
            </a:r>
            <a:endParaRPr lang="en-US" dirty="0"/>
          </a:p>
        </p:txBody>
      </p:sp>
      <p:sp>
        <p:nvSpPr>
          <p:cNvPr id="32" name="Google Shape;367;p7">
            <a:extLst>
              <a:ext uri="{FF2B5EF4-FFF2-40B4-BE49-F238E27FC236}">
                <a16:creationId xmlns:a16="http://schemas.microsoft.com/office/drawing/2014/main" id="{C9EB63D9-2842-EFAB-02FF-8DE733E6CAE3}"/>
              </a:ext>
            </a:extLst>
          </p:cNvPr>
          <p:cNvSpPr/>
          <p:nvPr/>
        </p:nvSpPr>
        <p:spPr>
          <a:xfrm>
            <a:off x="3937459" y="5311583"/>
            <a:ext cx="568985" cy="34584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91440" rIns="0" bIns="0" anchor="t"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4Q22</a:t>
            </a:r>
            <a:endParaRPr lang="en-US" dirty="0"/>
          </a:p>
        </p:txBody>
      </p:sp>
      <p:sp>
        <p:nvSpPr>
          <p:cNvPr id="33" name="Google Shape;367;p7">
            <a:extLst>
              <a:ext uri="{FF2B5EF4-FFF2-40B4-BE49-F238E27FC236}">
                <a16:creationId xmlns:a16="http://schemas.microsoft.com/office/drawing/2014/main" id="{FDC5B13A-D294-15DB-FD0F-298EA7EADF30}"/>
              </a:ext>
            </a:extLst>
          </p:cNvPr>
          <p:cNvSpPr/>
          <p:nvPr/>
        </p:nvSpPr>
        <p:spPr>
          <a:xfrm>
            <a:off x="2048063" y="5311583"/>
            <a:ext cx="568985" cy="34584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91440" rIns="0" bIns="0" anchor="t"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1Q21</a:t>
            </a:r>
            <a:endParaRPr lang="en-US" dirty="0"/>
          </a:p>
        </p:txBody>
      </p:sp>
      <p:sp>
        <p:nvSpPr>
          <p:cNvPr id="34" name="Google Shape;367;p7">
            <a:extLst>
              <a:ext uri="{FF2B5EF4-FFF2-40B4-BE49-F238E27FC236}">
                <a16:creationId xmlns:a16="http://schemas.microsoft.com/office/drawing/2014/main" id="{E0746962-2AB8-1562-31E5-27EA04B0C981}"/>
              </a:ext>
            </a:extLst>
          </p:cNvPr>
          <p:cNvSpPr/>
          <p:nvPr/>
        </p:nvSpPr>
        <p:spPr>
          <a:xfrm>
            <a:off x="3133226" y="5311583"/>
            <a:ext cx="568985" cy="34584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91440" rIns="0" bIns="0" anchor="t"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1Q22</a:t>
            </a:r>
            <a:endParaRPr lang="en-US" dirty="0"/>
          </a:p>
        </p:txBody>
      </p:sp>
      <p:sp>
        <p:nvSpPr>
          <p:cNvPr id="35" name="Google Shape;367;p7">
            <a:extLst>
              <a:ext uri="{FF2B5EF4-FFF2-40B4-BE49-F238E27FC236}">
                <a16:creationId xmlns:a16="http://schemas.microsoft.com/office/drawing/2014/main" id="{F1D11835-DBA1-2731-93D0-5722A1340081}"/>
              </a:ext>
            </a:extLst>
          </p:cNvPr>
          <p:cNvSpPr/>
          <p:nvPr/>
        </p:nvSpPr>
        <p:spPr>
          <a:xfrm>
            <a:off x="6735740" y="5311583"/>
            <a:ext cx="568985" cy="34584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91440" rIns="0" bIns="0" anchor="t"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1Q20</a:t>
            </a:r>
            <a:endParaRPr lang="en-US" dirty="0"/>
          </a:p>
        </p:txBody>
      </p:sp>
      <p:sp>
        <p:nvSpPr>
          <p:cNvPr id="36" name="Google Shape;367;p7">
            <a:extLst>
              <a:ext uri="{FF2B5EF4-FFF2-40B4-BE49-F238E27FC236}">
                <a16:creationId xmlns:a16="http://schemas.microsoft.com/office/drawing/2014/main" id="{69C96C26-1A71-149C-5B51-CA6A8EC2A5C4}"/>
              </a:ext>
            </a:extLst>
          </p:cNvPr>
          <p:cNvSpPr/>
          <p:nvPr/>
        </p:nvSpPr>
        <p:spPr>
          <a:xfrm>
            <a:off x="9666230" y="5311583"/>
            <a:ext cx="568985" cy="34584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91440" rIns="0" bIns="0" anchor="t"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4Q22</a:t>
            </a:r>
            <a:endParaRPr lang="en-US" dirty="0"/>
          </a:p>
        </p:txBody>
      </p:sp>
      <p:sp>
        <p:nvSpPr>
          <p:cNvPr id="37" name="Google Shape;367;p7">
            <a:extLst>
              <a:ext uri="{FF2B5EF4-FFF2-40B4-BE49-F238E27FC236}">
                <a16:creationId xmlns:a16="http://schemas.microsoft.com/office/drawing/2014/main" id="{A2A2F504-170C-B086-812C-13B83814866B}"/>
              </a:ext>
            </a:extLst>
          </p:cNvPr>
          <p:cNvSpPr/>
          <p:nvPr/>
        </p:nvSpPr>
        <p:spPr>
          <a:xfrm>
            <a:off x="7776834" y="5311583"/>
            <a:ext cx="568985" cy="34584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91440" rIns="0" bIns="0" anchor="t"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1Q21</a:t>
            </a:r>
            <a:endParaRPr lang="en-US" dirty="0"/>
          </a:p>
        </p:txBody>
      </p:sp>
      <p:sp>
        <p:nvSpPr>
          <p:cNvPr id="38" name="Google Shape;367;p7">
            <a:extLst>
              <a:ext uri="{FF2B5EF4-FFF2-40B4-BE49-F238E27FC236}">
                <a16:creationId xmlns:a16="http://schemas.microsoft.com/office/drawing/2014/main" id="{FD4FE039-6332-BA87-955C-1E41B8149010}"/>
              </a:ext>
            </a:extLst>
          </p:cNvPr>
          <p:cNvSpPr/>
          <p:nvPr/>
        </p:nvSpPr>
        <p:spPr>
          <a:xfrm>
            <a:off x="8861997" y="5311583"/>
            <a:ext cx="568985" cy="34584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91440" rIns="0" bIns="0" anchor="t"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1Q22</a:t>
            </a:r>
            <a:endParaRPr lang="en-US" dirty="0"/>
          </a:p>
        </p:txBody>
      </p:sp>
      <p:sp>
        <p:nvSpPr>
          <p:cNvPr id="39" name="Google Shape;367;p7">
            <a:extLst>
              <a:ext uri="{FF2B5EF4-FFF2-40B4-BE49-F238E27FC236}">
                <a16:creationId xmlns:a16="http://schemas.microsoft.com/office/drawing/2014/main" id="{65448D71-C872-4A2F-885D-0973653581B3}"/>
              </a:ext>
            </a:extLst>
          </p:cNvPr>
          <p:cNvSpPr/>
          <p:nvPr/>
        </p:nvSpPr>
        <p:spPr>
          <a:xfrm>
            <a:off x="1176055" y="3343526"/>
            <a:ext cx="799798" cy="247580"/>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200"/>
              <a:buFont typeface="Arial"/>
              <a:buNone/>
            </a:pPr>
            <a:r>
              <a:rPr lang="en-US" sz="1600" b="1" i="0" u="none" strike="noStrike" cap="none" dirty="0">
                <a:solidFill>
                  <a:srgbClr val="000000"/>
                </a:solidFill>
                <a:latin typeface="Arial"/>
                <a:ea typeface="Arial"/>
                <a:cs typeface="Arial"/>
                <a:sym typeface="Arial"/>
              </a:rPr>
              <a:t>31.9%</a:t>
            </a:r>
            <a:endParaRPr lang="en-US" b="1" dirty="0"/>
          </a:p>
        </p:txBody>
      </p:sp>
      <p:sp>
        <p:nvSpPr>
          <p:cNvPr id="40" name="Google Shape;367;p7">
            <a:extLst>
              <a:ext uri="{FF2B5EF4-FFF2-40B4-BE49-F238E27FC236}">
                <a16:creationId xmlns:a16="http://schemas.microsoft.com/office/drawing/2014/main" id="{F91D7193-7E63-2308-616E-D6AF0DA33AD9}"/>
              </a:ext>
            </a:extLst>
          </p:cNvPr>
          <p:cNvSpPr/>
          <p:nvPr/>
        </p:nvSpPr>
        <p:spPr>
          <a:xfrm>
            <a:off x="1176055" y="4124303"/>
            <a:ext cx="799798" cy="247580"/>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200"/>
              <a:buFont typeface="Arial"/>
              <a:buNone/>
            </a:pPr>
            <a:r>
              <a:rPr lang="en-US" sz="1600" b="1" i="0" u="none" strike="noStrike" cap="none" dirty="0">
                <a:solidFill>
                  <a:srgbClr val="000000"/>
                </a:solidFill>
                <a:latin typeface="Arial"/>
                <a:ea typeface="Arial"/>
                <a:cs typeface="Arial"/>
                <a:sym typeface="Arial"/>
              </a:rPr>
              <a:t>29.1%</a:t>
            </a:r>
            <a:endParaRPr lang="en-US" b="1" dirty="0"/>
          </a:p>
        </p:txBody>
      </p:sp>
      <p:sp>
        <p:nvSpPr>
          <p:cNvPr id="41" name="Google Shape;367;p7">
            <a:extLst>
              <a:ext uri="{FF2B5EF4-FFF2-40B4-BE49-F238E27FC236}">
                <a16:creationId xmlns:a16="http://schemas.microsoft.com/office/drawing/2014/main" id="{4705DF9B-4107-87A6-F6F1-05097C794EDC}"/>
              </a:ext>
            </a:extLst>
          </p:cNvPr>
          <p:cNvSpPr/>
          <p:nvPr/>
        </p:nvSpPr>
        <p:spPr>
          <a:xfrm>
            <a:off x="3374131" y="3337825"/>
            <a:ext cx="799798" cy="247580"/>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1200"/>
              <a:buFont typeface="Arial"/>
              <a:buNone/>
            </a:pPr>
            <a:r>
              <a:rPr lang="en-US" sz="1600" b="1" i="0" u="none" strike="noStrike" cap="none" dirty="0">
                <a:solidFill>
                  <a:srgbClr val="000000"/>
                </a:solidFill>
                <a:latin typeface="Arial"/>
                <a:ea typeface="Arial"/>
                <a:cs typeface="Arial"/>
                <a:sym typeface="Arial"/>
              </a:rPr>
              <a:t>33.5%</a:t>
            </a:r>
            <a:endParaRPr lang="en-US" b="1" dirty="0"/>
          </a:p>
        </p:txBody>
      </p:sp>
      <p:sp>
        <p:nvSpPr>
          <p:cNvPr id="42" name="Google Shape;367;p7">
            <a:extLst>
              <a:ext uri="{FF2B5EF4-FFF2-40B4-BE49-F238E27FC236}">
                <a16:creationId xmlns:a16="http://schemas.microsoft.com/office/drawing/2014/main" id="{ECC8CED8-C84E-DBD8-B0D2-EC5C2F874CCB}"/>
              </a:ext>
            </a:extLst>
          </p:cNvPr>
          <p:cNvSpPr/>
          <p:nvPr/>
        </p:nvSpPr>
        <p:spPr>
          <a:xfrm>
            <a:off x="3374131" y="3986398"/>
            <a:ext cx="799798" cy="247580"/>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1200"/>
              <a:buFont typeface="Arial"/>
              <a:buNone/>
            </a:pPr>
            <a:r>
              <a:rPr lang="en-US" sz="1600" b="1" i="0" u="none" strike="noStrike" cap="none" dirty="0">
                <a:solidFill>
                  <a:srgbClr val="000000"/>
                </a:solidFill>
                <a:latin typeface="Arial"/>
                <a:ea typeface="Arial"/>
                <a:cs typeface="Arial"/>
                <a:sym typeface="Arial"/>
              </a:rPr>
              <a:t>29.7%</a:t>
            </a:r>
            <a:endParaRPr lang="en-US" b="1" dirty="0"/>
          </a:p>
        </p:txBody>
      </p:sp>
      <p:sp>
        <p:nvSpPr>
          <p:cNvPr id="43" name="Google Shape;367;p7">
            <a:extLst>
              <a:ext uri="{FF2B5EF4-FFF2-40B4-BE49-F238E27FC236}">
                <a16:creationId xmlns:a16="http://schemas.microsoft.com/office/drawing/2014/main" id="{731DC766-1FCD-FE64-EBB5-978C3D3180BD}"/>
              </a:ext>
            </a:extLst>
          </p:cNvPr>
          <p:cNvSpPr/>
          <p:nvPr/>
        </p:nvSpPr>
        <p:spPr>
          <a:xfrm>
            <a:off x="6970927" y="3024733"/>
            <a:ext cx="799798" cy="247580"/>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200"/>
              <a:buFont typeface="Arial"/>
              <a:buNone/>
            </a:pPr>
            <a:r>
              <a:rPr lang="en-US" sz="1600" b="1" i="0" u="none" strike="noStrike" cap="none" dirty="0">
                <a:solidFill>
                  <a:srgbClr val="000000"/>
                </a:solidFill>
                <a:latin typeface="Arial"/>
                <a:ea typeface="Arial"/>
                <a:cs typeface="Arial"/>
                <a:sym typeface="Arial"/>
              </a:rPr>
              <a:t>41.1%</a:t>
            </a:r>
            <a:endParaRPr lang="en-US" b="1" dirty="0"/>
          </a:p>
        </p:txBody>
      </p:sp>
      <p:sp>
        <p:nvSpPr>
          <p:cNvPr id="44" name="Google Shape;367;p7">
            <a:extLst>
              <a:ext uri="{FF2B5EF4-FFF2-40B4-BE49-F238E27FC236}">
                <a16:creationId xmlns:a16="http://schemas.microsoft.com/office/drawing/2014/main" id="{B1C79F5E-6169-49A4-0770-7EBFAF496BF6}"/>
              </a:ext>
            </a:extLst>
          </p:cNvPr>
          <p:cNvSpPr/>
          <p:nvPr/>
        </p:nvSpPr>
        <p:spPr>
          <a:xfrm>
            <a:off x="6970927" y="3674465"/>
            <a:ext cx="799798" cy="247580"/>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200"/>
              <a:buFont typeface="Arial"/>
              <a:buNone/>
            </a:pPr>
            <a:r>
              <a:rPr lang="en-US" sz="1600" b="1" i="0" u="none" strike="noStrike" cap="none" dirty="0">
                <a:solidFill>
                  <a:srgbClr val="000000"/>
                </a:solidFill>
                <a:latin typeface="Arial"/>
                <a:ea typeface="Arial"/>
                <a:cs typeface="Arial"/>
                <a:sym typeface="Arial"/>
              </a:rPr>
              <a:t>39.5%</a:t>
            </a:r>
            <a:endParaRPr lang="en-US" b="1" dirty="0"/>
          </a:p>
        </p:txBody>
      </p:sp>
      <p:sp>
        <p:nvSpPr>
          <p:cNvPr id="45" name="Google Shape;367;p7">
            <a:extLst>
              <a:ext uri="{FF2B5EF4-FFF2-40B4-BE49-F238E27FC236}">
                <a16:creationId xmlns:a16="http://schemas.microsoft.com/office/drawing/2014/main" id="{FCC5FB4A-A6CC-495F-3B03-8E855AFFB165}"/>
              </a:ext>
            </a:extLst>
          </p:cNvPr>
          <p:cNvSpPr/>
          <p:nvPr/>
        </p:nvSpPr>
        <p:spPr>
          <a:xfrm>
            <a:off x="9053117" y="2977619"/>
            <a:ext cx="799798" cy="247580"/>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1200"/>
              <a:buFont typeface="Arial"/>
              <a:buNone/>
            </a:pPr>
            <a:r>
              <a:rPr lang="en-US" sz="1600" b="1" i="0" u="none" strike="noStrike" cap="none" dirty="0">
                <a:solidFill>
                  <a:srgbClr val="000000"/>
                </a:solidFill>
                <a:latin typeface="Arial"/>
                <a:ea typeface="Arial"/>
                <a:cs typeface="Arial"/>
                <a:sym typeface="Arial"/>
              </a:rPr>
              <a:t>42.0%</a:t>
            </a:r>
            <a:endParaRPr lang="en-US" b="1" dirty="0"/>
          </a:p>
        </p:txBody>
      </p:sp>
      <p:sp>
        <p:nvSpPr>
          <p:cNvPr id="46" name="Google Shape;367;p7">
            <a:extLst>
              <a:ext uri="{FF2B5EF4-FFF2-40B4-BE49-F238E27FC236}">
                <a16:creationId xmlns:a16="http://schemas.microsoft.com/office/drawing/2014/main" id="{D151B612-F6E4-009C-7186-B0245580E044}"/>
              </a:ext>
            </a:extLst>
          </p:cNvPr>
          <p:cNvSpPr/>
          <p:nvPr/>
        </p:nvSpPr>
        <p:spPr>
          <a:xfrm>
            <a:off x="9053117" y="3516022"/>
            <a:ext cx="799798" cy="247580"/>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1200"/>
              <a:buFont typeface="Arial"/>
              <a:buNone/>
            </a:pPr>
            <a:r>
              <a:rPr lang="en-US" sz="1600" b="1" i="0" u="none" strike="noStrike" cap="none" dirty="0">
                <a:solidFill>
                  <a:srgbClr val="000000"/>
                </a:solidFill>
                <a:latin typeface="Arial"/>
                <a:ea typeface="Arial"/>
                <a:cs typeface="Arial"/>
                <a:sym typeface="Arial"/>
              </a:rPr>
              <a:t>39.8%</a:t>
            </a:r>
            <a:endParaRPr lang="en-US" b="1" dirty="0"/>
          </a:p>
        </p:txBody>
      </p:sp>
    </p:spTree>
    <p:extLst>
      <p:ext uri="{BB962C8B-B14F-4D97-AF65-F5344CB8AC3E}">
        <p14:creationId xmlns:p14="http://schemas.microsoft.com/office/powerpoint/2010/main" val="4189656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graphicFrame>
        <p:nvGraphicFramePr>
          <p:cNvPr id="582" name="SORTBYROW(R2) PINRIGHT{val=&quot;None – My enterprise is not struggling with developing a vision for digital transformation&quot; .OR. val=&quot;Other&quot; .OR. val=&quot;Not applicable&quot;} DBC(R2){val=&quot;0%&quot;}"/>
          <p:cNvGraphicFramePr/>
          <p:nvPr>
            <p:extLst>
              <p:ext uri="{D42A27DB-BD31-4B8C-83A1-F6EECF244321}">
                <p14:modId xmlns:p14="http://schemas.microsoft.com/office/powerpoint/2010/main" val="506126080"/>
              </p:ext>
            </p:extLst>
          </p:nvPr>
        </p:nvGraphicFramePr>
        <p:xfrm>
          <a:off x="7722824" y="2118563"/>
          <a:ext cx="4020090" cy="3415086"/>
        </p:xfrm>
        <a:graphic>
          <a:graphicData uri="http://schemas.openxmlformats.org/drawingml/2006/chart">
            <c:chart xmlns:c="http://schemas.openxmlformats.org/drawingml/2006/chart" xmlns:r="http://schemas.openxmlformats.org/officeDocument/2006/relationships" r:id="rId3"/>
          </a:graphicData>
        </a:graphic>
      </p:graphicFrame>
      <p:sp>
        <p:nvSpPr>
          <p:cNvPr id="8" name="Google Shape;644;p31">
            <a:extLst>
              <a:ext uri="{FF2B5EF4-FFF2-40B4-BE49-F238E27FC236}">
                <a16:creationId xmlns:a16="http://schemas.microsoft.com/office/drawing/2014/main" id="{C0AD8622-DB17-E901-11A9-EC0F433B728D}"/>
              </a:ext>
            </a:extLst>
          </p:cNvPr>
          <p:cNvSpPr txBox="1"/>
          <p:nvPr/>
        </p:nvSpPr>
        <p:spPr>
          <a:xfrm>
            <a:off x="457199" y="5531377"/>
            <a:ext cx="9898655" cy="769411"/>
          </a:xfrm>
          <a:prstGeom prst="rect">
            <a:avLst/>
          </a:prstGeom>
          <a:noFill/>
          <a:ln>
            <a:noFill/>
          </a:ln>
        </p:spPr>
        <p:txBody>
          <a:bodyPr spcFirstLastPara="1" wrap="square" lIns="0" tIns="91425" rIns="91425" bIns="91425" anchor="b" anchorCtr="0">
            <a:spAutoFit/>
          </a:bodyPr>
          <a:lstStyle/>
          <a:p>
            <a:pPr marL="0" marR="0" lvl="0" indent="0" algn="l" rtl="0">
              <a:spcBef>
                <a:spcPts val="0"/>
              </a:spcBef>
              <a:spcAft>
                <a:spcPts val="0"/>
              </a:spcAft>
              <a:buNone/>
            </a:pPr>
            <a:r>
              <a:rPr lang="en-US" sz="1400" dirty="0">
                <a:solidFill>
                  <a:schemeClr val="dk1"/>
                </a:solidFill>
                <a:latin typeface="Arial"/>
                <a:ea typeface="Arial"/>
                <a:cs typeface="Arial"/>
                <a:sym typeface="Arial"/>
              </a:rPr>
              <a:t>n = 358 Midsize enterprise CIOs and technology executives answering</a:t>
            </a:r>
          </a:p>
          <a:p>
            <a:pPr marL="0" marR="0" lvl="0" indent="0" algn="l" rtl="0">
              <a:spcBef>
                <a:spcPts val="0"/>
              </a:spcBef>
              <a:spcAft>
                <a:spcPts val="0"/>
              </a:spcAft>
              <a:buNone/>
            </a:pPr>
            <a:r>
              <a:rPr lang="en-US" sz="1200" dirty="0">
                <a:solidFill>
                  <a:srgbClr val="7F7F7F"/>
                </a:solidFill>
                <a:latin typeface="Arial"/>
                <a:ea typeface="Arial"/>
                <a:cs typeface="Arial"/>
                <a:sym typeface="Arial"/>
              </a:rPr>
              <a:t>Q. Where does your enterprise struggle most while developing a vision for digital change?</a:t>
            </a:r>
          </a:p>
          <a:p>
            <a:pPr marL="0" marR="0" lvl="0" indent="0" algn="l" rtl="0">
              <a:spcBef>
                <a:spcPts val="0"/>
              </a:spcBef>
              <a:spcAft>
                <a:spcPts val="0"/>
              </a:spcAft>
              <a:buNone/>
            </a:pPr>
            <a:r>
              <a:rPr lang="en-US" sz="1200" dirty="0">
                <a:solidFill>
                  <a:srgbClr val="6F7878"/>
                </a:solidFill>
                <a:cs typeface="Arial" panose="020B0604020202020204" pitchFamily="34" charset="0"/>
              </a:rPr>
              <a:t>Source: 2023 Gartner CIO and Technology Executive Survey</a:t>
            </a:r>
          </a:p>
        </p:txBody>
      </p:sp>
      <p:sp>
        <p:nvSpPr>
          <p:cNvPr id="4" name="Title 3">
            <a:extLst>
              <a:ext uri="{FF2B5EF4-FFF2-40B4-BE49-F238E27FC236}">
                <a16:creationId xmlns:a16="http://schemas.microsoft.com/office/drawing/2014/main" id="{4B6989E9-CC31-5CF6-6DD1-5FF816A70AA9}"/>
              </a:ext>
            </a:extLst>
          </p:cNvPr>
          <p:cNvSpPr>
            <a:spLocks noGrp="1"/>
          </p:cNvSpPr>
          <p:nvPr>
            <p:ph type="title"/>
          </p:nvPr>
        </p:nvSpPr>
        <p:spPr>
          <a:xfrm>
            <a:off x="457200" y="361950"/>
            <a:ext cx="10721662" cy="865554"/>
          </a:xfrm>
        </p:spPr>
        <p:txBody>
          <a:bodyPr/>
          <a:lstStyle/>
          <a:p>
            <a:r>
              <a:rPr lang="en-US" dirty="0"/>
              <a:t>Creating a Vision for Digital Change Is Critical … but It Isn’t Easy</a:t>
            </a:r>
          </a:p>
        </p:txBody>
      </p:sp>
      <p:sp>
        <p:nvSpPr>
          <p:cNvPr id="10" name="Text Placeholder 9">
            <a:extLst>
              <a:ext uri="{FF2B5EF4-FFF2-40B4-BE49-F238E27FC236}">
                <a16:creationId xmlns:a16="http://schemas.microsoft.com/office/drawing/2014/main" id="{B474A335-0E3D-5EB6-2B11-3290F3C0463E}"/>
              </a:ext>
            </a:extLst>
          </p:cNvPr>
          <p:cNvSpPr>
            <a:spLocks noGrp="1"/>
          </p:cNvSpPr>
          <p:nvPr>
            <p:ph type="body" sz="quarter" idx="10"/>
          </p:nvPr>
        </p:nvSpPr>
        <p:spPr>
          <a:xfrm>
            <a:off x="468489" y="1361647"/>
            <a:ext cx="11274425" cy="247580"/>
          </a:xfrm>
        </p:spPr>
        <p:txBody>
          <a:bodyPr/>
          <a:lstStyle/>
          <a:p>
            <a:r>
              <a:rPr lang="en-US" dirty="0"/>
              <a:t>Enterprise Struggles</a:t>
            </a:r>
          </a:p>
        </p:txBody>
      </p:sp>
      <p:sp>
        <p:nvSpPr>
          <p:cNvPr id="11" name="Text Placeholder 10">
            <a:extLst>
              <a:ext uri="{FF2B5EF4-FFF2-40B4-BE49-F238E27FC236}">
                <a16:creationId xmlns:a16="http://schemas.microsoft.com/office/drawing/2014/main" id="{0897DF86-F82A-9E09-BDE9-F75E73F6D5E2}"/>
              </a:ext>
            </a:extLst>
          </p:cNvPr>
          <p:cNvSpPr>
            <a:spLocks noGrp="1"/>
          </p:cNvSpPr>
          <p:nvPr>
            <p:ph type="body" sz="quarter" idx="11"/>
          </p:nvPr>
        </p:nvSpPr>
        <p:spPr>
          <a:xfrm>
            <a:off x="468489" y="1642822"/>
            <a:ext cx="11274425" cy="247580"/>
          </a:xfrm>
        </p:spPr>
        <p:txBody>
          <a:bodyPr/>
          <a:lstStyle/>
          <a:p>
            <a:r>
              <a:rPr lang="en-US" dirty="0"/>
              <a:t>Percentage of Midsize Respondents</a:t>
            </a:r>
          </a:p>
        </p:txBody>
      </p:sp>
      <p:sp>
        <p:nvSpPr>
          <p:cNvPr id="14" name="TextBox 13">
            <a:extLst>
              <a:ext uri="{FF2B5EF4-FFF2-40B4-BE49-F238E27FC236}">
                <a16:creationId xmlns:a16="http://schemas.microsoft.com/office/drawing/2014/main" id="{4EE4ABC4-634C-ABEB-31CC-B87C694CDC62}"/>
              </a:ext>
            </a:extLst>
          </p:cNvPr>
          <p:cNvSpPr txBox="1"/>
          <p:nvPr/>
        </p:nvSpPr>
        <p:spPr>
          <a:xfrm>
            <a:off x="468490" y="2147505"/>
            <a:ext cx="7441622" cy="247580"/>
          </a:xfrm>
          <a:prstGeom prst="rect">
            <a:avLst/>
          </a:prstGeom>
          <a:noFill/>
        </p:spPr>
        <p:txBody>
          <a:bodyPr wrap="square" lIns="0" tIns="0" rIns="91440" bIns="0" rtlCol="0" anchor="ctr" anchorCtr="0">
            <a:spAutoFit/>
          </a:bodyPr>
          <a:lstStyle/>
          <a:p>
            <a:pPr algn="r">
              <a:spcBef>
                <a:spcPts val="600"/>
              </a:spcBef>
            </a:pPr>
            <a:r>
              <a:rPr lang="en-US" sz="1600" dirty="0"/>
              <a:t>Integrating the Digital Vision With Existing Enterprise-Level Strategies</a:t>
            </a:r>
          </a:p>
        </p:txBody>
      </p:sp>
      <p:sp>
        <p:nvSpPr>
          <p:cNvPr id="15" name="TextBox 14">
            <a:extLst>
              <a:ext uri="{FF2B5EF4-FFF2-40B4-BE49-F238E27FC236}">
                <a16:creationId xmlns:a16="http://schemas.microsoft.com/office/drawing/2014/main" id="{1B12F62D-A0CB-E963-76F1-BF66AFD41105}"/>
              </a:ext>
            </a:extLst>
          </p:cNvPr>
          <p:cNvSpPr txBox="1"/>
          <p:nvPr/>
        </p:nvSpPr>
        <p:spPr>
          <a:xfrm>
            <a:off x="468490" y="2451174"/>
            <a:ext cx="7441622" cy="247580"/>
          </a:xfrm>
          <a:prstGeom prst="rect">
            <a:avLst/>
          </a:prstGeom>
          <a:noFill/>
        </p:spPr>
        <p:txBody>
          <a:bodyPr wrap="square" lIns="0" tIns="0" rIns="91440" bIns="0" rtlCol="0" anchor="ctr" anchorCtr="0">
            <a:spAutoFit/>
          </a:bodyPr>
          <a:lstStyle/>
          <a:p>
            <a:pPr algn="r">
              <a:spcBef>
                <a:spcPts val="600"/>
              </a:spcBef>
            </a:pPr>
            <a:r>
              <a:rPr lang="en-US" sz="1600" dirty="0"/>
              <a:t>Agreeing on a Shared Vision Across Different Parts of the Enterprise</a:t>
            </a:r>
          </a:p>
        </p:txBody>
      </p:sp>
      <p:sp>
        <p:nvSpPr>
          <p:cNvPr id="16" name="TextBox 15">
            <a:extLst>
              <a:ext uri="{FF2B5EF4-FFF2-40B4-BE49-F238E27FC236}">
                <a16:creationId xmlns:a16="http://schemas.microsoft.com/office/drawing/2014/main" id="{EC4A5F8E-D87C-6879-1EB2-6AA56BA3FAF2}"/>
              </a:ext>
            </a:extLst>
          </p:cNvPr>
          <p:cNvSpPr txBox="1"/>
          <p:nvPr/>
        </p:nvSpPr>
        <p:spPr>
          <a:xfrm>
            <a:off x="468490" y="2754843"/>
            <a:ext cx="7441622" cy="247580"/>
          </a:xfrm>
          <a:prstGeom prst="rect">
            <a:avLst/>
          </a:prstGeom>
          <a:noFill/>
        </p:spPr>
        <p:txBody>
          <a:bodyPr wrap="square" lIns="0" tIns="0" rIns="91440" bIns="0" rtlCol="0" anchor="ctr" anchorCtr="0">
            <a:spAutoFit/>
          </a:bodyPr>
          <a:lstStyle/>
          <a:p>
            <a:pPr algn="r">
              <a:spcBef>
                <a:spcPts val="600"/>
              </a:spcBef>
            </a:pPr>
            <a:r>
              <a:rPr lang="en-US" sz="1600" dirty="0"/>
              <a:t>Ensuring That Business Leaders Understand the Possibilities</a:t>
            </a:r>
          </a:p>
        </p:txBody>
      </p:sp>
      <p:sp>
        <p:nvSpPr>
          <p:cNvPr id="17" name="TextBox 16">
            <a:extLst>
              <a:ext uri="{FF2B5EF4-FFF2-40B4-BE49-F238E27FC236}">
                <a16:creationId xmlns:a16="http://schemas.microsoft.com/office/drawing/2014/main" id="{A38972ED-8228-4FDA-BB76-6A99490A4EA7}"/>
              </a:ext>
            </a:extLst>
          </p:cNvPr>
          <p:cNvSpPr txBox="1"/>
          <p:nvPr/>
        </p:nvSpPr>
        <p:spPr>
          <a:xfrm>
            <a:off x="468490" y="3058512"/>
            <a:ext cx="7441622" cy="247580"/>
          </a:xfrm>
          <a:prstGeom prst="rect">
            <a:avLst/>
          </a:prstGeom>
          <a:noFill/>
        </p:spPr>
        <p:txBody>
          <a:bodyPr wrap="square" lIns="0" tIns="0" rIns="91440" bIns="0" rtlCol="0" anchor="ctr" anchorCtr="0">
            <a:spAutoFit/>
          </a:bodyPr>
          <a:lstStyle/>
          <a:p>
            <a:pPr algn="r">
              <a:spcBef>
                <a:spcPts val="600"/>
              </a:spcBef>
            </a:pPr>
            <a:r>
              <a:rPr lang="en-US" sz="1600" dirty="0"/>
              <a:t>Competing Expectations From Different Stakeholders</a:t>
            </a:r>
          </a:p>
        </p:txBody>
      </p:sp>
      <p:sp>
        <p:nvSpPr>
          <p:cNvPr id="18" name="TextBox 17">
            <a:extLst>
              <a:ext uri="{FF2B5EF4-FFF2-40B4-BE49-F238E27FC236}">
                <a16:creationId xmlns:a16="http://schemas.microsoft.com/office/drawing/2014/main" id="{1596EEC5-C85F-4D7F-4896-74044AB18C48}"/>
              </a:ext>
            </a:extLst>
          </p:cNvPr>
          <p:cNvSpPr txBox="1"/>
          <p:nvPr/>
        </p:nvSpPr>
        <p:spPr>
          <a:xfrm>
            <a:off x="468490" y="3362181"/>
            <a:ext cx="7441622" cy="247580"/>
          </a:xfrm>
          <a:prstGeom prst="rect">
            <a:avLst/>
          </a:prstGeom>
          <a:noFill/>
        </p:spPr>
        <p:txBody>
          <a:bodyPr wrap="square" lIns="0" tIns="0" rIns="91440" bIns="0" rtlCol="0" anchor="ctr" anchorCtr="0">
            <a:spAutoFit/>
          </a:bodyPr>
          <a:lstStyle/>
          <a:p>
            <a:pPr algn="r">
              <a:spcBef>
                <a:spcPts val="600"/>
              </a:spcBef>
            </a:pPr>
            <a:r>
              <a:rPr lang="en-US" sz="1600" dirty="0"/>
              <a:t>Developing a Clear Action Plan to Implement the Vision</a:t>
            </a:r>
          </a:p>
        </p:txBody>
      </p:sp>
      <p:sp>
        <p:nvSpPr>
          <p:cNvPr id="19" name="TextBox 18">
            <a:extLst>
              <a:ext uri="{FF2B5EF4-FFF2-40B4-BE49-F238E27FC236}">
                <a16:creationId xmlns:a16="http://schemas.microsoft.com/office/drawing/2014/main" id="{B68DFB61-8539-9955-068C-33C506B651AA}"/>
              </a:ext>
            </a:extLst>
          </p:cNvPr>
          <p:cNvSpPr txBox="1"/>
          <p:nvPr/>
        </p:nvSpPr>
        <p:spPr>
          <a:xfrm>
            <a:off x="468490" y="3665850"/>
            <a:ext cx="7441622" cy="247580"/>
          </a:xfrm>
          <a:prstGeom prst="rect">
            <a:avLst/>
          </a:prstGeom>
          <a:noFill/>
        </p:spPr>
        <p:txBody>
          <a:bodyPr wrap="square" lIns="0" tIns="0" rIns="91440" bIns="0" rtlCol="0" anchor="ctr" anchorCtr="0">
            <a:spAutoFit/>
          </a:bodyPr>
          <a:lstStyle/>
          <a:p>
            <a:pPr algn="r">
              <a:spcBef>
                <a:spcPts val="600"/>
              </a:spcBef>
            </a:pPr>
            <a:r>
              <a:rPr lang="en-US" sz="1600" dirty="0"/>
              <a:t>Communicating the Vision to Leaders and Team Managers Across the Enterprise</a:t>
            </a:r>
          </a:p>
        </p:txBody>
      </p:sp>
      <p:sp>
        <p:nvSpPr>
          <p:cNvPr id="20" name="TextBox 19">
            <a:extLst>
              <a:ext uri="{FF2B5EF4-FFF2-40B4-BE49-F238E27FC236}">
                <a16:creationId xmlns:a16="http://schemas.microsoft.com/office/drawing/2014/main" id="{95A7513F-96AE-5F89-B92B-9CEA81C3BE34}"/>
              </a:ext>
            </a:extLst>
          </p:cNvPr>
          <p:cNvSpPr txBox="1"/>
          <p:nvPr/>
        </p:nvSpPr>
        <p:spPr>
          <a:xfrm>
            <a:off x="468490" y="3969519"/>
            <a:ext cx="7441622" cy="247580"/>
          </a:xfrm>
          <a:prstGeom prst="rect">
            <a:avLst/>
          </a:prstGeom>
          <a:noFill/>
        </p:spPr>
        <p:txBody>
          <a:bodyPr wrap="square" lIns="0" tIns="0" rIns="91440" bIns="0" rtlCol="0" anchor="ctr" anchorCtr="0">
            <a:spAutoFit/>
          </a:bodyPr>
          <a:lstStyle/>
          <a:p>
            <a:pPr algn="r">
              <a:spcBef>
                <a:spcPts val="600"/>
              </a:spcBef>
            </a:pPr>
            <a:r>
              <a:rPr lang="en-US" sz="1600" dirty="0"/>
              <a:t>Getting Input From Stakeholders Outside IT</a:t>
            </a:r>
          </a:p>
        </p:txBody>
      </p:sp>
      <p:sp>
        <p:nvSpPr>
          <p:cNvPr id="21" name="TextBox 20">
            <a:extLst>
              <a:ext uri="{FF2B5EF4-FFF2-40B4-BE49-F238E27FC236}">
                <a16:creationId xmlns:a16="http://schemas.microsoft.com/office/drawing/2014/main" id="{94571051-60EF-FDFF-0AAC-C4782F919A05}"/>
              </a:ext>
            </a:extLst>
          </p:cNvPr>
          <p:cNvSpPr txBox="1"/>
          <p:nvPr/>
        </p:nvSpPr>
        <p:spPr>
          <a:xfrm>
            <a:off x="468490" y="4273188"/>
            <a:ext cx="7441622" cy="247580"/>
          </a:xfrm>
          <a:prstGeom prst="rect">
            <a:avLst/>
          </a:prstGeom>
          <a:noFill/>
        </p:spPr>
        <p:txBody>
          <a:bodyPr wrap="square" lIns="0" tIns="0" rIns="91440" bIns="0" rtlCol="0" anchor="ctr" anchorCtr="0">
            <a:spAutoFit/>
          </a:bodyPr>
          <a:lstStyle/>
          <a:p>
            <a:pPr algn="r">
              <a:spcBef>
                <a:spcPts val="600"/>
              </a:spcBef>
            </a:pPr>
            <a:r>
              <a:rPr lang="en-US" sz="1600" dirty="0"/>
              <a:t>Other</a:t>
            </a:r>
          </a:p>
        </p:txBody>
      </p:sp>
      <p:sp>
        <p:nvSpPr>
          <p:cNvPr id="22" name="TextBox 21">
            <a:extLst>
              <a:ext uri="{FF2B5EF4-FFF2-40B4-BE49-F238E27FC236}">
                <a16:creationId xmlns:a16="http://schemas.microsoft.com/office/drawing/2014/main" id="{165B9DC2-7CE5-DA97-605C-3F1BCD062A58}"/>
              </a:ext>
            </a:extLst>
          </p:cNvPr>
          <p:cNvSpPr txBox="1"/>
          <p:nvPr/>
        </p:nvSpPr>
        <p:spPr>
          <a:xfrm>
            <a:off x="468490" y="4576857"/>
            <a:ext cx="7441622" cy="247580"/>
          </a:xfrm>
          <a:prstGeom prst="rect">
            <a:avLst/>
          </a:prstGeom>
          <a:noFill/>
        </p:spPr>
        <p:txBody>
          <a:bodyPr wrap="square" lIns="0" tIns="0" rIns="91440" bIns="0" rtlCol="0" anchor="ctr" anchorCtr="0">
            <a:spAutoFit/>
          </a:bodyPr>
          <a:lstStyle/>
          <a:p>
            <a:pPr algn="r">
              <a:spcBef>
                <a:spcPts val="600"/>
              </a:spcBef>
            </a:pPr>
            <a:r>
              <a:rPr lang="en-US" sz="1600" dirty="0"/>
              <a:t>None — My Enterprise Is Not Struggling With Developing a Vision</a:t>
            </a:r>
          </a:p>
        </p:txBody>
      </p:sp>
      <p:sp>
        <p:nvSpPr>
          <p:cNvPr id="23" name="TextBox 22">
            <a:extLst>
              <a:ext uri="{FF2B5EF4-FFF2-40B4-BE49-F238E27FC236}">
                <a16:creationId xmlns:a16="http://schemas.microsoft.com/office/drawing/2014/main" id="{60290F16-C76A-3E95-DD13-644FC81CAFB0}"/>
              </a:ext>
            </a:extLst>
          </p:cNvPr>
          <p:cNvSpPr txBox="1"/>
          <p:nvPr/>
        </p:nvSpPr>
        <p:spPr>
          <a:xfrm>
            <a:off x="468490" y="4880523"/>
            <a:ext cx="7441622" cy="247580"/>
          </a:xfrm>
          <a:prstGeom prst="rect">
            <a:avLst/>
          </a:prstGeom>
          <a:noFill/>
        </p:spPr>
        <p:txBody>
          <a:bodyPr wrap="square" lIns="0" tIns="0" rIns="91440" bIns="0" rtlCol="0" anchor="ctr" anchorCtr="0">
            <a:spAutoFit/>
          </a:bodyPr>
          <a:lstStyle/>
          <a:p>
            <a:pPr algn="r">
              <a:spcBef>
                <a:spcPts val="600"/>
              </a:spcBef>
            </a:pPr>
            <a:r>
              <a:rPr lang="en-US" sz="1600" dirty="0"/>
              <a:t>Not Applicable </a:t>
            </a:r>
          </a:p>
        </p:txBody>
      </p:sp>
    </p:spTree>
    <p:extLst>
      <p:ext uri="{BB962C8B-B14F-4D97-AF65-F5344CB8AC3E}">
        <p14:creationId xmlns:p14="http://schemas.microsoft.com/office/powerpoint/2010/main" val="2213606072"/>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c="http://schemas.openxmlformats.org/drawingml/2006/chart"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39"/>
        <p:cNvGrpSpPr/>
        <p:nvPr/>
      </p:nvGrpSpPr>
      <p:grpSpPr>
        <a:xfrm>
          <a:off x="0" y="0"/>
          <a:ext cx="0" cy="0"/>
          <a:chOff x="0" y="0"/>
          <a:chExt cx="0" cy="0"/>
        </a:xfrm>
      </p:grpSpPr>
      <p:graphicFrame>
        <p:nvGraphicFramePr>
          <p:cNvPr id="3" name="PPRChart Half">
            <a:extLst>
              <a:ext uri="{FF2B5EF4-FFF2-40B4-BE49-F238E27FC236}">
                <a16:creationId xmlns:a16="http://schemas.microsoft.com/office/drawing/2014/main" id="{69B3A8A9-9725-B274-8E73-0A6AD3F8C9CC}"/>
              </a:ext>
            </a:extLst>
          </p:cNvPr>
          <p:cNvGraphicFramePr/>
          <p:nvPr>
            <p:extLst>
              <p:ext uri="{D42A27DB-BD31-4B8C-83A1-F6EECF244321}">
                <p14:modId xmlns:p14="http://schemas.microsoft.com/office/powerpoint/2010/main" val="646653856"/>
              </p:ext>
            </p:extLst>
          </p:nvPr>
        </p:nvGraphicFramePr>
        <p:xfrm>
          <a:off x="9146029" y="2578317"/>
          <a:ext cx="1800793" cy="1740812"/>
        </p:xfrm>
        <a:graphic>
          <a:graphicData uri="http://schemas.openxmlformats.org/drawingml/2006/chart">
            <c:chart xmlns:c="http://schemas.openxmlformats.org/drawingml/2006/chart" xmlns:r="http://schemas.openxmlformats.org/officeDocument/2006/relationships" r:id="rId3"/>
          </a:graphicData>
        </a:graphic>
      </p:graphicFrame>
      <p:sp>
        <p:nvSpPr>
          <p:cNvPr id="11" name="Google Shape;644;p31">
            <a:extLst>
              <a:ext uri="{FF2B5EF4-FFF2-40B4-BE49-F238E27FC236}">
                <a16:creationId xmlns:a16="http://schemas.microsoft.com/office/drawing/2014/main" id="{E870B17D-52E2-1D48-CAA8-C921773577A0}"/>
              </a:ext>
            </a:extLst>
          </p:cNvPr>
          <p:cNvSpPr txBox="1"/>
          <p:nvPr/>
        </p:nvSpPr>
        <p:spPr>
          <a:xfrm>
            <a:off x="457198" y="5185769"/>
            <a:ext cx="7434645" cy="1169521"/>
          </a:xfrm>
          <a:prstGeom prst="rect">
            <a:avLst/>
          </a:prstGeom>
          <a:noFill/>
          <a:ln>
            <a:noFill/>
          </a:ln>
        </p:spPr>
        <p:txBody>
          <a:bodyPr spcFirstLastPara="1" wrap="square" lIns="0" tIns="91425" rIns="0" bIns="91425" anchor="b"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Arial"/>
                <a:ea typeface="Arial"/>
                <a:cs typeface="Arial"/>
                <a:sym typeface="Arial"/>
              </a:rPr>
              <a:t>n v</a:t>
            </a: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aries by objective</a:t>
            </a:r>
            <a:r>
              <a:rPr lang="en-US" sz="1400" dirty="0">
                <a:solidFill>
                  <a:prstClr val="black"/>
                </a:solidFill>
                <a:latin typeface="Arial"/>
                <a:ea typeface="Arial"/>
                <a:cs typeface="Arial"/>
                <a:sym typeface="Arial"/>
              </a:rPr>
              <a:t>;</a:t>
            </a: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 </a:t>
            </a:r>
            <a:r>
              <a:rPr kumimoji="0" lang="en-US" sz="1400" b="0" i="0" u="none" strike="noStrike" kern="1200" cap="none" spc="0" normalizeH="0" baseline="0" noProof="0" dirty="0">
                <a:ln>
                  <a:noFill/>
                </a:ln>
                <a:solidFill>
                  <a:srgbClr val="000000"/>
                </a:solidFill>
                <a:effectLst/>
                <a:uLnTx/>
                <a:uFillTx/>
                <a:latin typeface="Arial"/>
                <a:ea typeface="+mn-ea"/>
                <a:cs typeface="Arial"/>
              </a:rPr>
              <a:t>Midsize </a:t>
            </a:r>
            <a:r>
              <a:rPr kumimoji="0" lang="en-US" sz="1400" b="0" i="0" u="none" strike="noStrike" kern="1200" cap="none" spc="0" normalizeH="0" baseline="0" noProof="0" dirty="0">
                <a:ln>
                  <a:noFill/>
                </a:ln>
                <a:solidFill>
                  <a:prstClr val="black"/>
                </a:solidFill>
                <a:effectLst/>
                <a:uLnTx/>
                <a:uFillTx/>
                <a:latin typeface="Arial"/>
                <a:ea typeface="+mn-ea"/>
                <a:cs typeface="Arial"/>
                <a:sym typeface="Arial"/>
              </a:rPr>
              <a:t>CIOs</a:t>
            </a: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 and technology executives who identified these digital technology investment objectiv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solidFill>
                <a:effectLst/>
                <a:uLnTx/>
                <a:uFillTx/>
                <a:latin typeface="Arial"/>
                <a:ea typeface="Arial"/>
                <a:cs typeface="Arial"/>
                <a:sym typeface="Arial"/>
              </a:rPr>
              <a:t>Q: How would the top leader of your business or government assess the results of the digital technology investments against the value expected to date for these objectiv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F7878"/>
                </a:solidFill>
                <a:effectLst/>
                <a:uLnTx/>
                <a:uFillTx/>
                <a:latin typeface="Arial" panose="020B0604020202020204"/>
                <a:ea typeface="+mn-ea"/>
                <a:cs typeface="Arial" panose="020B0604020202020204" pitchFamily="34" charset="0"/>
              </a:rPr>
              <a:t>Source: 2023 Gartner CIO and Technology Executive Survey</a:t>
            </a:r>
          </a:p>
        </p:txBody>
      </p:sp>
      <p:sp>
        <p:nvSpPr>
          <p:cNvPr id="6" name="TextBox 5">
            <a:extLst>
              <a:ext uri="{FF2B5EF4-FFF2-40B4-BE49-F238E27FC236}">
                <a16:creationId xmlns:a16="http://schemas.microsoft.com/office/drawing/2014/main" id="{C1BA8CB2-AE1F-2CD8-1915-3B127204415C}"/>
              </a:ext>
            </a:extLst>
          </p:cNvPr>
          <p:cNvSpPr txBox="1"/>
          <p:nvPr/>
        </p:nvSpPr>
        <p:spPr>
          <a:xfrm>
            <a:off x="8295701" y="5185769"/>
            <a:ext cx="3442273" cy="769441"/>
          </a:xfrm>
          <a:prstGeom prst="rect">
            <a:avLst/>
          </a:prstGeom>
          <a:noFill/>
        </p:spPr>
        <p:txBody>
          <a:bodyPr wrap="square" lIns="0" tIns="91440" rIns="0" bIns="91440" rtlCol="0">
            <a:spAutoFit/>
          </a:bodyPr>
          <a:lstStyle/>
          <a:p>
            <a:r>
              <a:rPr lang="en-US" sz="1400" dirty="0"/>
              <a:t>n = 102 CFOs</a:t>
            </a:r>
          </a:p>
          <a:p>
            <a:r>
              <a:rPr lang="en-US" sz="1200" dirty="0">
                <a:solidFill>
                  <a:srgbClr val="6F7878"/>
                </a:solidFill>
              </a:rPr>
              <a:t>Source: 2022 Gartner Driving Business Outcomes From Enterprise Digital Spending Survey</a:t>
            </a:r>
          </a:p>
        </p:txBody>
      </p:sp>
      <p:sp>
        <p:nvSpPr>
          <p:cNvPr id="15" name="Title 14">
            <a:extLst>
              <a:ext uri="{FF2B5EF4-FFF2-40B4-BE49-F238E27FC236}">
                <a16:creationId xmlns:a16="http://schemas.microsoft.com/office/drawing/2014/main" id="{29428052-BABF-49DF-C0B3-3C3187FC04E2}"/>
              </a:ext>
            </a:extLst>
          </p:cNvPr>
          <p:cNvSpPr>
            <a:spLocks noGrp="1"/>
          </p:cNvSpPr>
          <p:nvPr>
            <p:ph type="title"/>
          </p:nvPr>
        </p:nvSpPr>
        <p:spPr/>
        <p:txBody>
          <a:bodyPr/>
          <a:lstStyle/>
          <a:p>
            <a:r>
              <a:rPr lang="en-US" dirty="0"/>
              <a:t>Digital Initiatives Are Not Meeting Expectations</a:t>
            </a:r>
          </a:p>
        </p:txBody>
      </p:sp>
      <p:sp>
        <p:nvSpPr>
          <p:cNvPr id="16" name="Text Placeholder 15">
            <a:extLst>
              <a:ext uri="{FF2B5EF4-FFF2-40B4-BE49-F238E27FC236}">
                <a16:creationId xmlns:a16="http://schemas.microsoft.com/office/drawing/2014/main" id="{541BF50B-86E3-9048-255D-F6964BE0C040}"/>
              </a:ext>
            </a:extLst>
          </p:cNvPr>
          <p:cNvSpPr>
            <a:spLocks noGrp="1"/>
          </p:cNvSpPr>
          <p:nvPr>
            <p:ph type="body" sz="quarter" idx="10"/>
          </p:nvPr>
        </p:nvSpPr>
        <p:spPr/>
        <p:txBody>
          <a:bodyPr/>
          <a:lstStyle/>
          <a:p>
            <a:r>
              <a:rPr lang="en-US" dirty="0"/>
              <a:t>Satisfaction With Digital Initiatives</a:t>
            </a:r>
          </a:p>
        </p:txBody>
      </p:sp>
      <p:sp>
        <p:nvSpPr>
          <p:cNvPr id="23" name="TextBox 22">
            <a:extLst>
              <a:ext uri="{FF2B5EF4-FFF2-40B4-BE49-F238E27FC236}">
                <a16:creationId xmlns:a16="http://schemas.microsoft.com/office/drawing/2014/main" id="{944805CC-0F26-A53C-0AE8-FFDBA84FA88F}"/>
              </a:ext>
            </a:extLst>
          </p:cNvPr>
          <p:cNvSpPr txBox="1"/>
          <p:nvPr/>
        </p:nvSpPr>
        <p:spPr>
          <a:xfrm>
            <a:off x="10683433" y="1829424"/>
            <a:ext cx="1051652" cy="861774"/>
          </a:xfrm>
          <a:prstGeom prst="rect">
            <a:avLst/>
          </a:prstGeom>
        </p:spPr>
        <p:txBody>
          <a:bodyPr wrap="square" lIns="0" tIns="0" rIns="0" bIns="0" anchor="t" anchorCtr="0">
            <a:spAutoFit/>
          </a:bodyPr>
          <a:lstStyle/>
          <a:p>
            <a:r>
              <a:rPr lang="en-US" sz="1400" b="1" dirty="0">
                <a:solidFill>
                  <a:srgbClr val="000000"/>
                </a:solidFill>
              </a:rPr>
              <a:t>33%</a:t>
            </a:r>
          </a:p>
          <a:p>
            <a:r>
              <a:rPr lang="en-US" sz="1400" dirty="0">
                <a:solidFill>
                  <a:srgbClr val="000000"/>
                </a:solidFill>
              </a:rPr>
              <a:t>Meeting or Exceeding Expectations</a:t>
            </a:r>
          </a:p>
        </p:txBody>
      </p:sp>
      <p:sp>
        <p:nvSpPr>
          <p:cNvPr id="24" name="TextBox 23">
            <a:extLst>
              <a:ext uri="{FF2B5EF4-FFF2-40B4-BE49-F238E27FC236}">
                <a16:creationId xmlns:a16="http://schemas.microsoft.com/office/drawing/2014/main" id="{23156DBC-2516-61BD-BA44-82D7D401A2AA}"/>
              </a:ext>
            </a:extLst>
          </p:cNvPr>
          <p:cNvSpPr txBox="1"/>
          <p:nvPr/>
        </p:nvSpPr>
        <p:spPr>
          <a:xfrm>
            <a:off x="8295258" y="4445694"/>
            <a:ext cx="1445399" cy="646331"/>
          </a:xfrm>
          <a:prstGeom prst="rect">
            <a:avLst/>
          </a:prstGeom>
        </p:spPr>
        <p:txBody>
          <a:bodyPr wrap="square" lIns="0" tIns="0" rIns="0" bIns="0" anchor="t" anchorCtr="0">
            <a:spAutoFit/>
          </a:bodyPr>
          <a:lstStyle/>
          <a:p>
            <a:pPr algn="r"/>
            <a:r>
              <a:rPr lang="en-US" sz="1400" b="1" dirty="0">
                <a:solidFill>
                  <a:srgbClr val="000000"/>
                </a:solidFill>
              </a:rPr>
              <a:t>67%</a:t>
            </a:r>
          </a:p>
          <a:p>
            <a:pPr algn="r"/>
            <a:r>
              <a:rPr lang="en-US" sz="1400" dirty="0">
                <a:solidFill>
                  <a:srgbClr val="000000"/>
                </a:solidFill>
              </a:rPr>
              <a:t>Underperforming Expectations</a:t>
            </a:r>
          </a:p>
        </p:txBody>
      </p:sp>
      <p:graphicFrame>
        <p:nvGraphicFramePr>
          <p:cNvPr id="25" name="REPLACE(R2){val &gt; 0%}{rpl=&quot;-&quot; /&amp; val} SORTBYROW(R3) DELETECOLUMNIFANY(R4){val&lt;15}">
            <a:extLst>
              <a:ext uri="{FF2B5EF4-FFF2-40B4-BE49-F238E27FC236}">
                <a16:creationId xmlns:a16="http://schemas.microsoft.com/office/drawing/2014/main" id="{FACBD7FF-863D-4DEE-A0E1-F92EA3E44BB7}"/>
              </a:ext>
            </a:extLst>
          </p:cNvPr>
          <p:cNvGraphicFramePr/>
          <p:nvPr>
            <p:extLst>
              <p:ext uri="{D42A27DB-BD31-4B8C-83A1-F6EECF244321}">
                <p14:modId xmlns:p14="http://schemas.microsoft.com/office/powerpoint/2010/main" val="1492303119"/>
              </p:ext>
            </p:extLst>
          </p:nvPr>
        </p:nvGraphicFramePr>
        <p:xfrm>
          <a:off x="4460859" y="2016905"/>
          <a:ext cx="3442273" cy="3220221"/>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Group 25">
            <a:extLst>
              <a:ext uri="{FF2B5EF4-FFF2-40B4-BE49-F238E27FC236}">
                <a16:creationId xmlns:a16="http://schemas.microsoft.com/office/drawing/2014/main" id="{767872BC-0B1C-7E7D-0427-B578B47EC330}"/>
              </a:ext>
            </a:extLst>
          </p:cNvPr>
          <p:cNvGrpSpPr/>
          <p:nvPr/>
        </p:nvGrpSpPr>
        <p:grpSpPr>
          <a:xfrm>
            <a:off x="468489" y="1701198"/>
            <a:ext cx="6522837" cy="215444"/>
            <a:chOff x="1063784" y="1514012"/>
            <a:chExt cx="6522837" cy="215444"/>
          </a:xfrm>
        </p:grpSpPr>
        <p:sp>
          <p:nvSpPr>
            <p:cNvPr id="27" name="Rectangle 26">
              <a:extLst>
                <a:ext uri="{FF2B5EF4-FFF2-40B4-BE49-F238E27FC236}">
                  <a16:creationId xmlns:a16="http://schemas.microsoft.com/office/drawing/2014/main" id="{C52BE12D-45E2-960C-3F67-DB2B21C12CB0}"/>
                </a:ext>
              </a:extLst>
            </p:cNvPr>
            <p:cNvSpPr/>
            <p:nvPr/>
          </p:nvSpPr>
          <p:spPr>
            <a:xfrm>
              <a:off x="1063784" y="1540647"/>
              <a:ext cx="162174" cy="162174"/>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8" name="TextBox 27">
              <a:extLst>
                <a:ext uri="{FF2B5EF4-FFF2-40B4-BE49-F238E27FC236}">
                  <a16:creationId xmlns:a16="http://schemas.microsoft.com/office/drawing/2014/main" id="{567771DE-D79E-C2A7-5F8C-46DB6C9645B4}"/>
                </a:ext>
              </a:extLst>
            </p:cNvPr>
            <p:cNvSpPr txBox="1"/>
            <p:nvPr/>
          </p:nvSpPr>
          <p:spPr>
            <a:xfrm>
              <a:off x="1246665" y="1514012"/>
              <a:ext cx="3501606" cy="215444"/>
            </a:xfrm>
            <a:prstGeom prst="rect">
              <a:avLst/>
            </a:prstGeom>
            <a:noFill/>
          </p:spPr>
          <p:txBody>
            <a:bodyPr wrap="square" lIns="91440" tIns="0" rIns="91440" bIns="0" rtlCol="0" anchor="ctr" anchorCtr="0">
              <a:spAutoFit/>
            </a:bodyPr>
            <a:lstStyle/>
            <a:p>
              <a:r>
                <a:rPr lang="en-US" sz="1400" dirty="0"/>
                <a:t>Behind or Just Achieving Expected Value</a:t>
              </a:r>
            </a:p>
          </p:txBody>
        </p:sp>
        <p:sp>
          <p:nvSpPr>
            <p:cNvPr id="29" name="Rectangle 28">
              <a:extLst>
                <a:ext uri="{FF2B5EF4-FFF2-40B4-BE49-F238E27FC236}">
                  <a16:creationId xmlns:a16="http://schemas.microsoft.com/office/drawing/2014/main" id="{8A969E35-36D0-EF42-D214-D32541E51A30}"/>
                </a:ext>
              </a:extLst>
            </p:cNvPr>
            <p:cNvSpPr/>
            <p:nvPr/>
          </p:nvSpPr>
          <p:spPr>
            <a:xfrm>
              <a:off x="4768978" y="1540647"/>
              <a:ext cx="162174" cy="162174"/>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30" name="TextBox 29">
              <a:extLst>
                <a:ext uri="{FF2B5EF4-FFF2-40B4-BE49-F238E27FC236}">
                  <a16:creationId xmlns:a16="http://schemas.microsoft.com/office/drawing/2014/main" id="{0AED235A-BC24-395C-EB1A-E54F835C45DC}"/>
                </a:ext>
              </a:extLst>
            </p:cNvPr>
            <p:cNvSpPr txBox="1"/>
            <p:nvPr/>
          </p:nvSpPr>
          <p:spPr>
            <a:xfrm>
              <a:off x="4951858" y="1514012"/>
              <a:ext cx="2634763" cy="215444"/>
            </a:xfrm>
            <a:prstGeom prst="rect">
              <a:avLst/>
            </a:prstGeom>
            <a:noFill/>
          </p:spPr>
          <p:txBody>
            <a:bodyPr wrap="square" lIns="91440" tIns="0" rIns="91440" bIns="0" rtlCol="0" anchor="ctr" anchorCtr="0">
              <a:spAutoFit/>
            </a:bodyPr>
            <a:lstStyle/>
            <a:p>
              <a:r>
                <a:rPr lang="en-US" sz="1400" dirty="0"/>
                <a:t>Exceeding Value Expectations</a:t>
              </a:r>
            </a:p>
          </p:txBody>
        </p:sp>
      </p:grpSp>
      <p:sp>
        <p:nvSpPr>
          <p:cNvPr id="2" name="TextBox 1">
            <a:extLst>
              <a:ext uri="{FF2B5EF4-FFF2-40B4-BE49-F238E27FC236}">
                <a16:creationId xmlns:a16="http://schemas.microsoft.com/office/drawing/2014/main" id="{B7592A64-3A1C-79C4-DFA3-1BD8A0780B18}"/>
              </a:ext>
            </a:extLst>
          </p:cNvPr>
          <p:cNvSpPr txBox="1"/>
          <p:nvPr/>
        </p:nvSpPr>
        <p:spPr>
          <a:xfrm>
            <a:off x="468490" y="2035911"/>
            <a:ext cx="4279780" cy="215444"/>
          </a:xfrm>
          <a:prstGeom prst="rect">
            <a:avLst/>
          </a:prstGeom>
          <a:noFill/>
        </p:spPr>
        <p:txBody>
          <a:bodyPr wrap="square" lIns="0" tIns="0" rIns="91440" bIns="0" rtlCol="0" anchor="ctr" anchorCtr="0">
            <a:spAutoFit/>
          </a:bodyPr>
          <a:lstStyle/>
          <a:p>
            <a:pPr algn="r">
              <a:spcBef>
                <a:spcPts val="600"/>
              </a:spcBef>
            </a:pPr>
            <a:r>
              <a:rPr lang="en-US" sz="1400" dirty="0"/>
              <a:t>Ensure Legal and Regulatory Compliance (n = 39)</a:t>
            </a:r>
          </a:p>
        </p:txBody>
      </p:sp>
      <p:sp>
        <p:nvSpPr>
          <p:cNvPr id="4" name="TextBox 3">
            <a:extLst>
              <a:ext uri="{FF2B5EF4-FFF2-40B4-BE49-F238E27FC236}">
                <a16:creationId xmlns:a16="http://schemas.microsoft.com/office/drawing/2014/main" id="{3282A08B-5FAF-2CBF-9D5B-42FD17B8613F}"/>
              </a:ext>
            </a:extLst>
          </p:cNvPr>
          <p:cNvSpPr txBox="1"/>
          <p:nvPr/>
        </p:nvSpPr>
        <p:spPr>
          <a:xfrm>
            <a:off x="468490" y="2298434"/>
            <a:ext cx="4279780" cy="215444"/>
          </a:xfrm>
          <a:prstGeom prst="rect">
            <a:avLst/>
          </a:prstGeom>
          <a:noFill/>
        </p:spPr>
        <p:txBody>
          <a:bodyPr wrap="square" lIns="0" tIns="0" rIns="91440" bIns="0" rtlCol="0" anchor="ctr" anchorCtr="0">
            <a:spAutoFit/>
          </a:bodyPr>
          <a:lstStyle/>
          <a:p>
            <a:pPr algn="r">
              <a:spcBef>
                <a:spcPts val="600"/>
              </a:spcBef>
            </a:pPr>
            <a:r>
              <a:rPr lang="en-US" sz="1400" dirty="0"/>
              <a:t>Ensure Business Continuity and Resilience (n = 104)</a:t>
            </a:r>
          </a:p>
        </p:txBody>
      </p:sp>
      <p:sp>
        <p:nvSpPr>
          <p:cNvPr id="5" name="TextBox 4">
            <a:extLst>
              <a:ext uri="{FF2B5EF4-FFF2-40B4-BE49-F238E27FC236}">
                <a16:creationId xmlns:a16="http://schemas.microsoft.com/office/drawing/2014/main" id="{171D0BAA-D5BF-98D9-9AA1-A104E3726690}"/>
              </a:ext>
            </a:extLst>
          </p:cNvPr>
          <p:cNvSpPr txBox="1"/>
          <p:nvPr/>
        </p:nvSpPr>
        <p:spPr>
          <a:xfrm>
            <a:off x="468490" y="2560957"/>
            <a:ext cx="4279780" cy="215444"/>
          </a:xfrm>
          <a:prstGeom prst="rect">
            <a:avLst/>
          </a:prstGeom>
          <a:noFill/>
        </p:spPr>
        <p:txBody>
          <a:bodyPr wrap="square" lIns="0" tIns="0" rIns="91440" bIns="0" rtlCol="0" anchor="ctr" anchorCtr="0">
            <a:spAutoFit/>
          </a:bodyPr>
          <a:lstStyle/>
          <a:p>
            <a:pPr algn="r">
              <a:spcBef>
                <a:spcPts val="600"/>
              </a:spcBef>
            </a:pPr>
            <a:r>
              <a:rPr lang="en-US" sz="1400" dirty="0"/>
              <a:t>Improve the Employee Experience (n = 58)</a:t>
            </a:r>
          </a:p>
        </p:txBody>
      </p:sp>
      <p:sp>
        <p:nvSpPr>
          <p:cNvPr id="7" name="TextBox 6">
            <a:extLst>
              <a:ext uri="{FF2B5EF4-FFF2-40B4-BE49-F238E27FC236}">
                <a16:creationId xmlns:a16="http://schemas.microsoft.com/office/drawing/2014/main" id="{C235EEEB-5E20-B27F-24F8-625BBBF1CE3D}"/>
              </a:ext>
            </a:extLst>
          </p:cNvPr>
          <p:cNvSpPr txBox="1"/>
          <p:nvPr/>
        </p:nvSpPr>
        <p:spPr>
          <a:xfrm>
            <a:off x="468490" y="2823480"/>
            <a:ext cx="4279780" cy="215444"/>
          </a:xfrm>
          <a:prstGeom prst="rect">
            <a:avLst/>
          </a:prstGeom>
          <a:noFill/>
        </p:spPr>
        <p:txBody>
          <a:bodyPr wrap="square" lIns="0" tIns="0" rIns="91440" bIns="0" rtlCol="0" anchor="ctr" anchorCtr="0">
            <a:spAutoFit/>
          </a:bodyPr>
          <a:lstStyle/>
          <a:p>
            <a:pPr algn="r">
              <a:spcBef>
                <a:spcPts val="600"/>
              </a:spcBef>
            </a:pPr>
            <a:r>
              <a:rPr lang="en-US" sz="1400" dirty="0"/>
              <a:t>Reduce Enterprise Risks (n =77)</a:t>
            </a:r>
          </a:p>
        </p:txBody>
      </p:sp>
      <p:sp>
        <p:nvSpPr>
          <p:cNvPr id="8" name="TextBox 7">
            <a:extLst>
              <a:ext uri="{FF2B5EF4-FFF2-40B4-BE49-F238E27FC236}">
                <a16:creationId xmlns:a16="http://schemas.microsoft.com/office/drawing/2014/main" id="{7DBFEDF2-0422-6846-2698-BA70F1C5846A}"/>
              </a:ext>
            </a:extLst>
          </p:cNvPr>
          <p:cNvSpPr txBox="1"/>
          <p:nvPr/>
        </p:nvSpPr>
        <p:spPr>
          <a:xfrm>
            <a:off x="468490" y="3086003"/>
            <a:ext cx="4279780" cy="215444"/>
          </a:xfrm>
          <a:prstGeom prst="rect">
            <a:avLst/>
          </a:prstGeom>
          <a:noFill/>
        </p:spPr>
        <p:txBody>
          <a:bodyPr wrap="square" lIns="0" tIns="0" rIns="91440" bIns="0" rtlCol="0" anchor="ctr" anchorCtr="0">
            <a:spAutoFit/>
          </a:bodyPr>
          <a:lstStyle/>
          <a:p>
            <a:pPr algn="r">
              <a:spcBef>
                <a:spcPts val="600"/>
              </a:spcBef>
            </a:pPr>
            <a:r>
              <a:rPr lang="en-US" sz="1400" dirty="0"/>
              <a:t>Introduce New Products/Services (n = 71)</a:t>
            </a:r>
          </a:p>
        </p:txBody>
      </p:sp>
      <p:sp>
        <p:nvSpPr>
          <p:cNvPr id="9" name="TextBox 8">
            <a:extLst>
              <a:ext uri="{FF2B5EF4-FFF2-40B4-BE49-F238E27FC236}">
                <a16:creationId xmlns:a16="http://schemas.microsoft.com/office/drawing/2014/main" id="{D0BFA32D-2972-A092-7518-9F9D90A0D8DB}"/>
              </a:ext>
            </a:extLst>
          </p:cNvPr>
          <p:cNvSpPr txBox="1"/>
          <p:nvPr/>
        </p:nvSpPr>
        <p:spPr>
          <a:xfrm>
            <a:off x="468490" y="3348526"/>
            <a:ext cx="4279780" cy="215444"/>
          </a:xfrm>
          <a:prstGeom prst="rect">
            <a:avLst/>
          </a:prstGeom>
          <a:noFill/>
        </p:spPr>
        <p:txBody>
          <a:bodyPr wrap="square" lIns="0" tIns="0" rIns="91440" bIns="0" rtlCol="0" anchor="ctr" anchorCtr="0">
            <a:spAutoFit/>
          </a:bodyPr>
          <a:lstStyle/>
          <a:p>
            <a:pPr algn="r">
              <a:spcBef>
                <a:spcPts val="600"/>
              </a:spcBef>
            </a:pPr>
            <a:r>
              <a:rPr lang="en-US" sz="1400" dirty="0"/>
              <a:t>Grow Revenue (n = 99)</a:t>
            </a:r>
          </a:p>
        </p:txBody>
      </p:sp>
      <p:sp>
        <p:nvSpPr>
          <p:cNvPr id="10" name="TextBox 9">
            <a:extLst>
              <a:ext uri="{FF2B5EF4-FFF2-40B4-BE49-F238E27FC236}">
                <a16:creationId xmlns:a16="http://schemas.microsoft.com/office/drawing/2014/main" id="{CEA55023-4ADA-4FF3-904D-ED333F915FC9}"/>
              </a:ext>
            </a:extLst>
          </p:cNvPr>
          <p:cNvSpPr txBox="1"/>
          <p:nvPr/>
        </p:nvSpPr>
        <p:spPr>
          <a:xfrm>
            <a:off x="468490" y="3611049"/>
            <a:ext cx="4279780" cy="215444"/>
          </a:xfrm>
          <a:prstGeom prst="rect">
            <a:avLst/>
          </a:prstGeom>
          <a:noFill/>
        </p:spPr>
        <p:txBody>
          <a:bodyPr wrap="square" lIns="0" tIns="0" rIns="91440" bIns="0" rtlCol="0" anchor="ctr" anchorCtr="0">
            <a:spAutoFit/>
          </a:bodyPr>
          <a:lstStyle/>
          <a:p>
            <a:pPr algn="r">
              <a:spcBef>
                <a:spcPts val="600"/>
              </a:spcBef>
            </a:pPr>
            <a:r>
              <a:rPr lang="en-US" sz="1400" dirty="0"/>
              <a:t>Improve the Customer/Citizen Experience (n = 127)</a:t>
            </a:r>
          </a:p>
        </p:txBody>
      </p:sp>
      <p:sp>
        <p:nvSpPr>
          <p:cNvPr id="12" name="TextBox 11">
            <a:extLst>
              <a:ext uri="{FF2B5EF4-FFF2-40B4-BE49-F238E27FC236}">
                <a16:creationId xmlns:a16="http://schemas.microsoft.com/office/drawing/2014/main" id="{0482A137-657E-89C9-A8CF-2495E11D4D08}"/>
              </a:ext>
            </a:extLst>
          </p:cNvPr>
          <p:cNvSpPr txBox="1"/>
          <p:nvPr/>
        </p:nvSpPr>
        <p:spPr>
          <a:xfrm>
            <a:off x="468490" y="3873572"/>
            <a:ext cx="4279780" cy="215444"/>
          </a:xfrm>
          <a:prstGeom prst="rect">
            <a:avLst/>
          </a:prstGeom>
          <a:noFill/>
        </p:spPr>
        <p:txBody>
          <a:bodyPr wrap="square" lIns="0" tIns="0" rIns="91440" bIns="0" rtlCol="0" anchor="ctr" anchorCtr="0">
            <a:spAutoFit/>
          </a:bodyPr>
          <a:lstStyle/>
          <a:p>
            <a:pPr algn="r">
              <a:spcBef>
                <a:spcPts val="600"/>
              </a:spcBef>
            </a:pPr>
            <a:r>
              <a:rPr lang="en-US" sz="1400" dirty="0"/>
              <a:t>Improve Operational Excellence (n = 199)</a:t>
            </a:r>
          </a:p>
        </p:txBody>
      </p:sp>
      <p:sp>
        <p:nvSpPr>
          <p:cNvPr id="13" name="TextBox 12">
            <a:extLst>
              <a:ext uri="{FF2B5EF4-FFF2-40B4-BE49-F238E27FC236}">
                <a16:creationId xmlns:a16="http://schemas.microsoft.com/office/drawing/2014/main" id="{BFBDBF8E-9526-8594-C619-822AF9192CA9}"/>
              </a:ext>
            </a:extLst>
          </p:cNvPr>
          <p:cNvSpPr txBox="1"/>
          <p:nvPr/>
        </p:nvSpPr>
        <p:spPr>
          <a:xfrm>
            <a:off x="468490" y="4136095"/>
            <a:ext cx="4279780" cy="215444"/>
          </a:xfrm>
          <a:prstGeom prst="rect">
            <a:avLst/>
          </a:prstGeom>
          <a:noFill/>
        </p:spPr>
        <p:txBody>
          <a:bodyPr wrap="square" lIns="0" tIns="0" rIns="91440" bIns="0" rtlCol="0" anchor="ctr" anchorCtr="0">
            <a:spAutoFit/>
          </a:bodyPr>
          <a:lstStyle/>
          <a:p>
            <a:pPr algn="r">
              <a:spcBef>
                <a:spcPts val="600"/>
              </a:spcBef>
            </a:pPr>
            <a:r>
              <a:rPr lang="en-US" sz="1400" dirty="0"/>
              <a:t>Increase Innovation (n = 47)</a:t>
            </a:r>
          </a:p>
        </p:txBody>
      </p:sp>
      <p:sp>
        <p:nvSpPr>
          <p:cNvPr id="14" name="TextBox 13">
            <a:extLst>
              <a:ext uri="{FF2B5EF4-FFF2-40B4-BE49-F238E27FC236}">
                <a16:creationId xmlns:a16="http://schemas.microsoft.com/office/drawing/2014/main" id="{6E771A77-B5B6-3DCE-7696-FDB84BD7CD9F}"/>
              </a:ext>
            </a:extLst>
          </p:cNvPr>
          <p:cNvSpPr txBox="1"/>
          <p:nvPr/>
        </p:nvSpPr>
        <p:spPr>
          <a:xfrm>
            <a:off x="468490" y="4398618"/>
            <a:ext cx="4279780" cy="215444"/>
          </a:xfrm>
          <a:prstGeom prst="rect">
            <a:avLst/>
          </a:prstGeom>
          <a:noFill/>
        </p:spPr>
        <p:txBody>
          <a:bodyPr wrap="square" lIns="0" tIns="0" rIns="91440" bIns="0" rtlCol="0" anchor="ctr" anchorCtr="0">
            <a:spAutoFit/>
          </a:bodyPr>
          <a:lstStyle/>
          <a:p>
            <a:pPr algn="r">
              <a:spcBef>
                <a:spcPts val="600"/>
              </a:spcBef>
            </a:pPr>
            <a:r>
              <a:rPr lang="en-US" sz="1400" dirty="0"/>
              <a:t>Increase Cost Efficiency (n = 87)</a:t>
            </a:r>
          </a:p>
        </p:txBody>
      </p:sp>
      <p:sp>
        <p:nvSpPr>
          <p:cNvPr id="17" name="TextBox 16">
            <a:extLst>
              <a:ext uri="{FF2B5EF4-FFF2-40B4-BE49-F238E27FC236}">
                <a16:creationId xmlns:a16="http://schemas.microsoft.com/office/drawing/2014/main" id="{273E0C65-7DC2-BCE4-DCD4-808248AE2A11}"/>
              </a:ext>
            </a:extLst>
          </p:cNvPr>
          <p:cNvSpPr txBox="1"/>
          <p:nvPr/>
        </p:nvSpPr>
        <p:spPr>
          <a:xfrm>
            <a:off x="468490" y="4661138"/>
            <a:ext cx="4279780" cy="215444"/>
          </a:xfrm>
          <a:prstGeom prst="rect">
            <a:avLst/>
          </a:prstGeom>
          <a:noFill/>
        </p:spPr>
        <p:txBody>
          <a:bodyPr wrap="square" lIns="0" tIns="0" rIns="91440" bIns="0" rtlCol="0" anchor="ctr" anchorCtr="0">
            <a:spAutoFit/>
          </a:bodyPr>
          <a:lstStyle/>
          <a:p>
            <a:pPr algn="r">
              <a:spcBef>
                <a:spcPts val="600"/>
              </a:spcBef>
            </a:pPr>
            <a:r>
              <a:rPr lang="en-US" sz="1400" dirty="0"/>
              <a:t>Increase Employee Productivity (n = 115)</a:t>
            </a:r>
          </a:p>
        </p:txBody>
      </p:sp>
      <p:sp>
        <p:nvSpPr>
          <p:cNvPr id="19" name="Rectangle 18">
            <a:extLst>
              <a:ext uri="{FF2B5EF4-FFF2-40B4-BE49-F238E27FC236}">
                <a16:creationId xmlns:a16="http://schemas.microsoft.com/office/drawing/2014/main" id="{E40ADF15-929A-7240-12D1-4AA0DCCAF53F}"/>
              </a:ext>
            </a:extLst>
          </p:cNvPr>
          <p:cNvSpPr/>
          <p:nvPr/>
        </p:nvSpPr>
        <p:spPr>
          <a:xfrm>
            <a:off x="457200" y="2013416"/>
            <a:ext cx="7373816" cy="533568"/>
          </a:xfrm>
          <a:prstGeom prst="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19">
            <a:extLst>
              <a:ext uri="{FF2B5EF4-FFF2-40B4-BE49-F238E27FC236}">
                <a16:creationId xmlns:a16="http://schemas.microsoft.com/office/drawing/2014/main" id="{54032BA7-D51C-4FF1-E9DC-27ECC6879B6B}"/>
              </a:ext>
            </a:extLst>
          </p:cNvPr>
          <p:cNvSpPr/>
          <p:nvPr/>
        </p:nvSpPr>
        <p:spPr>
          <a:xfrm>
            <a:off x="457200" y="4136095"/>
            <a:ext cx="7373816" cy="820275"/>
          </a:xfrm>
          <a:prstGeom prst="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1" name="TextBox 1">
            <a:extLst>
              <a:ext uri="{FF2B5EF4-FFF2-40B4-BE49-F238E27FC236}">
                <a16:creationId xmlns:a16="http://schemas.microsoft.com/office/drawing/2014/main" id="{34F3BEBC-4FCF-B5B7-9B72-BB23C1152DF8}"/>
              </a:ext>
            </a:extLst>
          </p:cNvPr>
          <p:cNvSpPr txBox="1"/>
          <p:nvPr/>
        </p:nvSpPr>
        <p:spPr>
          <a:xfrm>
            <a:off x="463549" y="1210751"/>
            <a:ext cx="7428293" cy="351323"/>
          </a:xfrm>
          <a:prstGeom prst="rect">
            <a:avLst/>
          </a:prstGeom>
          <a:solidFill>
            <a:srgbClr val="009AD7"/>
          </a:solidFill>
        </p:spPr>
        <p:txBody>
          <a:bodyPr wrap="square" lIns="91440" tIns="91440" rIns="91440" bIns="9144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400" b="0" i="0" u="none" strike="noStrike" kern="1200" spc="0" baseline="0">
                <a:solidFill>
                  <a:prstClr val="black">
                    <a:lumMod val="65000"/>
                    <a:lumOff val="35000"/>
                  </a:prstClr>
                </a:solidFill>
                <a:latin typeface="+mn-lt"/>
                <a:ea typeface="+mn-ea"/>
                <a:cs typeface="+mn-cs"/>
              </a:defRPr>
            </a:pPr>
            <a:r>
              <a:rPr lang="en-US" sz="1600" b="1" dirty="0">
                <a:solidFill>
                  <a:srgbClr val="000000"/>
                </a:solidFill>
                <a:cs typeface="Arial" panose="020B0604020202020204" pitchFamily="34" charset="0"/>
              </a:rPr>
              <a:t>What CIOs Tell Us</a:t>
            </a:r>
          </a:p>
        </p:txBody>
      </p:sp>
      <p:sp>
        <p:nvSpPr>
          <p:cNvPr id="32" name="TextBox 1">
            <a:extLst>
              <a:ext uri="{FF2B5EF4-FFF2-40B4-BE49-F238E27FC236}">
                <a16:creationId xmlns:a16="http://schemas.microsoft.com/office/drawing/2014/main" id="{B74C4615-057E-4796-27B2-6ADEF77D4946}"/>
              </a:ext>
            </a:extLst>
          </p:cNvPr>
          <p:cNvSpPr txBox="1"/>
          <p:nvPr/>
        </p:nvSpPr>
        <p:spPr>
          <a:xfrm>
            <a:off x="8295258" y="1210751"/>
            <a:ext cx="3431584" cy="351323"/>
          </a:xfrm>
          <a:prstGeom prst="rect">
            <a:avLst/>
          </a:prstGeom>
          <a:solidFill>
            <a:srgbClr val="009AD7"/>
          </a:solidFill>
        </p:spPr>
        <p:txBody>
          <a:bodyPr wrap="square" lIns="91440" tIns="91440" rIns="91440" bIns="9144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400" b="0" i="0" u="none" strike="noStrike" kern="1200" spc="0" baseline="0">
                <a:solidFill>
                  <a:prstClr val="black">
                    <a:lumMod val="65000"/>
                    <a:lumOff val="35000"/>
                  </a:prstClr>
                </a:solidFill>
                <a:latin typeface="+mn-lt"/>
                <a:ea typeface="+mn-ea"/>
                <a:cs typeface="+mn-cs"/>
              </a:defRPr>
            </a:pPr>
            <a:r>
              <a:rPr lang="en-US" sz="1600" b="1" dirty="0">
                <a:solidFill>
                  <a:srgbClr val="000000"/>
                </a:solidFill>
                <a:cs typeface="Arial" panose="020B0604020202020204" pitchFamily="34" charset="0"/>
              </a:rPr>
              <a:t>What CFOs Tell Us</a:t>
            </a:r>
          </a:p>
        </p:txBody>
      </p:sp>
    </p:spTree>
    <p:extLst>
      <p:ext uri="{BB962C8B-B14F-4D97-AF65-F5344CB8AC3E}">
        <p14:creationId xmlns:p14="http://schemas.microsoft.com/office/powerpoint/2010/main" val="18954021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C578D3-EFB5-1E44-B6D2-331853175CFF}"/>
              </a:ext>
            </a:extLst>
          </p:cNvPr>
          <p:cNvSpPr/>
          <p:nvPr/>
        </p:nvSpPr>
        <p:spPr>
          <a:xfrm>
            <a:off x="333756" y="2399194"/>
            <a:ext cx="11521440" cy="50292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 name="Title 2">
            <a:extLst>
              <a:ext uri="{FF2B5EF4-FFF2-40B4-BE49-F238E27FC236}">
                <a16:creationId xmlns:a16="http://schemas.microsoft.com/office/drawing/2014/main" id="{14392A92-09FA-4DDB-B46F-2E85AD7AD341}"/>
              </a:ext>
            </a:extLst>
          </p:cNvPr>
          <p:cNvSpPr>
            <a:spLocks noGrp="1"/>
          </p:cNvSpPr>
          <p:nvPr>
            <p:ph type="title"/>
          </p:nvPr>
        </p:nvSpPr>
        <p:spPr/>
        <p:txBody>
          <a:bodyPr/>
          <a:lstStyle/>
          <a:p>
            <a:r>
              <a:rPr lang="en-US" b="1" dirty="0"/>
              <a:t>Key Issues</a:t>
            </a:r>
            <a:endParaRPr lang="en-US" dirty="0"/>
          </a:p>
        </p:txBody>
      </p:sp>
      <p:sp>
        <p:nvSpPr>
          <p:cNvPr id="4" name="Content Placeholder 3">
            <a:extLst>
              <a:ext uri="{FF2B5EF4-FFF2-40B4-BE49-F238E27FC236}">
                <a16:creationId xmlns:a16="http://schemas.microsoft.com/office/drawing/2014/main" id="{FF80A4E5-7031-4093-AF50-DCEEADE7AF03}"/>
              </a:ext>
            </a:extLst>
          </p:cNvPr>
          <p:cNvSpPr>
            <a:spLocks noGrp="1"/>
          </p:cNvSpPr>
          <p:nvPr>
            <p:ph sz="quarter" idx="10"/>
          </p:nvPr>
        </p:nvSpPr>
        <p:spPr/>
        <p:txBody>
          <a:bodyPr/>
          <a:lstStyle/>
          <a:p>
            <a:pPr lvl="0"/>
            <a:r>
              <a:rPr lang="en-US" dirty="0">
                <a:solidFill>
                  <a:srgbClr val="6F7878"/>
                </a:solidFill>
              </a:rPr>
              <a:t>What are the major trends affecting CIOs in midsize enterprises?</a:t>
            </a:r>
          </a:p>
          <a:p>
            <a:pPr lvl="0"/>
            <a:r>
              <a:rPr lang="en-US" dirty="0">
                <a:solidFill>
                  <a:srgbClr val="6F7878"/>
                </a:solidFill>
              </a:rPr>
              <a:t>What are the top challenges for CIOs in midsize enterprises?</a:t>
            </a:r>
          </a:p>
          <a:p>
            <a:pPr lvl="0"/>
            <a:r>
              <a:rPr lang="en-US" dirty="0">
                <a:solidFill>
                  <a:schemeClr val="bg1"/>
                </a:solidFill>
              </a:rPr>
              <a:t>What actions should a midsize enterprise CIO take to address these challenges?</a:t>
            </a:r>
          </a:p>
        </p:txBody>
      </p:sp>
    </p:spTree>
    <p:extLst>
      <p:ext uri="{BB962C8B-B14F-4D97-AF65-F5344CB8AC3E}">
        <p14:creationId xmlns:p14="http://schemas.microsoft.com/office/powerpoint/2010/main" val="39760047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2734DE29-AE97-4289-9F3F-C4C3FC4A9EC0}"/>
              </a:ext>
            </a:extLst>
          </p:cNvPr>
          <p:cNvSpPr/>
          <p:nvPr/>
        </p:nvSpPr>
        <p:spPr>
          <a:xfrm>
            <a:off x="2349050" y="1728782"/>
            <a:ext cx="7493899" cy="1700218"/>
          </a:xfrm>
          <a:custGeom>
            <a:avLst/>
            <a:gdLst/>
            <a:ahLst/>
            <a:cxnLst/>
            <a:rect l="l" t="t" r="r" b="b"/>
            <a:pathLst>
              <a:path w="5608955" h="2148204">
                <a:moveTo>
                  <a:pt x="0" y="2147697"/>
                </a:moveTo>
                <a:lnTo>
                  <a:pt x="0" y="0"/>
                </a:lnTo>
                <a:lnTo>
                  <a:pt x="5608713" y="0"/>
                </a:lnTo>
                <a:lnTo>
                  <a:pt x="5608713" y="2147697"/>
                </a:lnTo>
              </a:path>
            </a:pathLst>
          </a:custGeom>
          <a:ln w="25400">
            <a:solidFill>
              <a:srgbClr val="6F7878"/>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594E5161-58FC-4997-9A4A-F42634BD3D58}"/>
              </a:ext>
            </a:extLst>
          </p:cNvPr>
          <p:cNvCxnSpPr>
            <a:cxnSpLocks/>
          </p:cNvCxnSpPr>
          <p:nvPr/>
        </p:nvCxnSpPr>
        <p:spPr>
          <a:xfrm flipH="1">
            <a:off x="6092234" y="1523451"/>
            <a:ext cx="7531" cy="1949600"/>
          </a:xfrm>
          <a:prstGeom prst="line">
            <a:avLst/>
          </a:prstGeom>
          <a:ln w="25400">
            <a:solidFill>
              <a:srgbClr val="6F7878"/>
            </a:solidFill>
          </a:ln>
        </p:spPr>
      </p:cxnSp>
      <p:sp>
        <p:nvSpPr>
          <p:cNvPr id="13" name="object 38">
            <a:extLst>
              <a:ext uri="{FF2B5EF4-FFF2-40B4-BE49-F238E27FC236}">
                <a16:creationId xmlns:a16="http://schemas.microsoft.com/office/drawing/2014/main" id="{31830CBE-CB12-48D3-9291-EAC894C5E3D1}"/>
              </a:ext>
            </a:extLst>
          </p:cNvPr>
          <p:cNvSpPr txBox="1"/>
          <p:nvPr/>
        </p:nvSpPr>
        <p:spPr>
          <a:xfrm>
            <a:off x="5092584" y="1173083"/>
            <a:ext cx="2006831" cy="305212"/>
          </a:xfrm>
          <a:prstGeom prst="rect">
            <a:avLst/>
          </a:prstGeom>
        </p:spPr>
        <p:txBody>
          <a:bodyPr vert="horz" wrap="none" lIns="0" tIns="12700" rIns="0" bIns="45720" rtlCol="0" anchor="b">
            <a:spAutoFit/>
          </a:bodyPr>
          <a:lstStyle/>
          <a:p>
            <a:pPr marL="12700" marR="0" lvl="0" indent="0" algn="ctr" defTabSz="4572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Cost</a:t>
            </a:r>
            <a:r>
              <a:rPr kumimoji="0" lang="en-US" sz="1600" b="1" i="0" u="none" strike="noStrike" kern="1200" cap="none" spc="-5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nagement</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object 11">
            <a:extLst>
              <a:ext uri="{FF2B5EF4-FFF2-40B4-BE49-F238E27FC236}">
                <a16:creationId xmlns:a16="http://schemas.microsoft.com/office/drawing/2014/main" id="{CE37E36C-B364-4E1C-A221-C81263CA037E}"/>
              </a:ext>
            </a:extLst>
          </p:cNvPr>
          <p:cNvSpPr txBox="1"/>
          <p:nvPr/>
        </p:nvSpPr>
        <p:spPr>
          <a:xfrm>
            <a:off x="1157149" y="2402303"/>
            <a:ext cx="2369423" cy="657135"/>
          </a:xfrm>
          <a:prstGeom prst="rect">
            <a:avLst/>
          </a:prstGeom>
          <a:solidFill>
            <a:schemeClr val="bg1"/>
          </a:solidFill>
        </p:spPr>
        <p:txBody>
          <a:bodyPr vert="horz" wrap="square" lIns="0" tIns="81280" rIns="0" bIns="45720" rtlCol="0">
            <a:noAutofit/>
          </a:bodyPr>
          <a:lstStyle>
            <a:defPPr>
              <a:defRPr lang="en-US"/>
            </a:defPPr>
            <a:lvl1pPr marL="127000" indent="-114300" fontAlgn="auto">
              <a:lnSpc>
                <a:spcPct val="100000"/>
              </a:lnSpc>
              <a:spcBef>
                <a:spcPts val="640"/>
              </a:spcBef>
              <a:spcAft>
                <a:spcPts val="0"/>
              </a:spcAft>
              <a:buFontTx/>
              <a:buChar char="•"/>
              <a:tabLst>
                <a:tab pos="127000" algn="l"/>
              </a:tabLst>
              <a:defRPr sz="1300" spc="-5">
                <a:solidFill>
                  <a:prstClr val="black"/>
                </a:solidFill>
                <a:latin typeface="Arial" panose="020B0604020202020204" pitchFamily="34" charset="0"/>
                <a:cs typeface="Arial" panose="020B0604020202020204" pitchFamily="34" charset="0"/>
              </a:defRPr>
            </a:lvl1pPr>
          </a:lstStyle>
          <a:p>
            <a:pPr marL="173736" marR="0" lvl="0" indent="-173736" algn="l" defTabSz="457200" rtl="0" eaLnBrk="1" fontAlgn="auto" latinLnBrk="0" hangingPunct="1">
              <a:lnSpc>
                <a:spcPct val="100000"/>
              </a:lnSpc>
              <a:spcBef>
                <a:spcPts val="0"/>
              </a:spcBef>
              <a:spcAft>
                <a:spcPts val="0"/>
              </a:spcAft>
              <a:buClrTx/>
              <a:buSzTx/>
              <a:buFontTx/>
              <a:buChar char="•"/>
              <a:tabLst>
                <a:tab pos="127000" algn="l"/>
              </a:tabLst>
              <a:defRPr/>
            </a:pPr>
            <a:r>
              <a:rPr kumimoji="0" lang="en-US" sz="16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actionary, short-term</a:t>
            </a:r>
          </a:p>
          <a:p>
            <a:pPr marL="173736" marR="0" lvl="0" indent="-173736" algn="l" defTabSz="457200" rtl="0" eaLnBrk="1" fontAlgn="auto" latinLnBrk="0" hangingPunct="1">
              <a:lnSpc>
                <a:spcPct val="100000"/>
              </a:lnSpc>
              <a:spcBef>
                <a:spcPts val="0"/>
              </a:spcBef>
              <a:spcAft>
                <a:spcPts val="0"/>
              </a:spcAft>
              <a:buClrTx/>
              <a:buSzTx/>
              <a:buFontTx/>
              <a:buChar char="•"/>
              <a:tabLst>
                <a:tab pos="127000" algn="l"/>
              </a:tabLst>
              <a:defRPr/>
            </a:pPr>
            <a:r>
              <a:rPr kumimoji="0" lang="en-US" sz="16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ediate reductions</a:t>
            </a:r>
          </a:p>
        </p:txBody>
      </p:sp>
      <p:sp>
        <p:nvSpPr>
          <p:cNvPr id="27" name="object 13">
            <a:extLst>
              <a:ext uri="{FF2B5EF4-FFF2-40B4-BE49-F238E27FC236}">
                <a16:creationId xmlns:a16="http://schemas.microsoft.com/office/drawing/2014/main" id="{577EE688-1AEE-4684-9407-95963AA0D670}"/>
              </a:ext>
            </a:extLst>
          </p:cNvPr>
          <p:cNvSpPr txBox="1"/>
          <p:nvPr/>
        </p:nvSpPr>
        <p:spPr>
          <a:xfrm>
            <a:off x="4821728" y="2402303"/>
            <a:ext cx="2535533" cy="657135"/>
          </a:xfrm>
          <a:prstGeom prst="rect">
            <a:avLst/>
          </a:prstGeom>
          <a:solidFill>
            <a:schemeClr val="bg1"/>
          </a:solidFill>
        </p:spPr>
        <p:txBody>
          <a:bodyPr vert="horz" wrap="square" lIns="0" tIns="81280" rIns="0" bIns="45720" rtlCol="0">
            <a:noAutofit/>
          </a:bodyPr>
          <a:lstStyle/>
          <a:p>
            <a:pPr marL="173736" indent="-173736">
              <a:buFontTx/>
              <a:buChar char="•"/>
              <a:tabLst>
                <a:tab pos="127000" algn="l"/>
              </a:tabLst>
              <a:defRPr/>
            </a:pPr>
            <a:r>
              <a:rPr lang="en-US" sz="1600" spc="-5" dirty="0">
                <a:solidFill>
                  <a:prstClr val="black"/>
                </a:solidFill>
                <a:latin typeface="Arial" panose="020B0604020202020204" pitchFamily="34" charset="0"/>
                <a:cs typeface="Arial" panose="020B0604020202020204" pitchFamily="34" charset="0"/>
              </a:rPr>
              <a:t>Programmatic</a:t>
            </a:r>
          </a:p>
          <a:p>
            <a:pPr marL="173736" indent="-173736">
              <a:buFontTx/>
              <a:buChar char="•"/>
              <a:tabLst>
                <a:tab pos="127000" algn="l"/>
              </a:tabLst>
              <a:defRPr/>
            </a:pPr>
            <a:r>
              <a:rPr lang="en-US" sz="1600" spc="-5" dirty="0">
                <a:solidFill>
                  <a:prstClr val="black"/>
                </a:solidFill>
                <a:latin typeface="Arial" panose="020B0604020202020204" pitchFamily="34" charset="0"/>
                <a:cs typeface="Arial" panose="020B0604020202020204" pitchFamily="34" charset="0"/>
              </a:rPr>
              <a:t>Structured improvements</a:t>
            </a:r>
          </a:p>
        </p:txBody>
      </p:sp>
      <p:sp>
        <p:nvSpPr>
          <p:cNvPr id="28" name="object 43">
            <a:extLst>
              <a:ext uri="{FF2B5EF4-FFF2-40B4-BE49-F238E27FC236}">
                <a16:creationId xmlns:a16="http://schemas.microsoft.com/office/drawing/2014/main" id="{A064669D-3F34-417E-8EB9-25CE4B80F1C2}"/>
              </a:ext>
            </a:extLst>
          </p:cNvPr>
          <p:cNvSpPr txBox="1"/>
          <p:nvPr/>
        </p:nvSpPr>
        <p:spPr>
          <a:xfrm>
            <a:off x="8606413" y="2402303"/>
            <a:ext cx="2422211" cy="657135"/>
          </a:xfrm>
          <a:prstGeom prst="rect">
            <a:avLst/>
          </a:prstGeom>
          <a:solidFill>
            <a:schemeClr val="bg1"/>
          </a:solidFill>
        </p:spPr>
        <p:txBody>
          <a:bodyPr vert="horz" wrap="square" lIns="0" tIns="81280" rIns="0" bIns="45720" rtlCol="0">
            <a:noAutofit/>
          </a:bodyPr>
          <a:lstStyle/>
          <a:p>
            <a:pPr marL="173736" indent="-173736">
              <a:buFontTx/>
              <a:buChar char="•"/>
              <a:tabLst>
                <a:tab pos="127000" algn="l"/>
              </a:tabLst>
              <a:defRPr/>
            </a:pPr>
            <a:r>
              <a:rPr lang="en-US" sz="1600" spc="-5" dirty="0">
                <a:solidFill>
                  <a:prstClr val="black"/>
                </a:solidFill>
                <a:latin typeface="Arial" panose="020B0604020202020204" pitchFamily="34" charset="0"/>
                <a:cs typeface="Arial" panose="020B0604020202020204" pitchFamily="34" charset="0"/>
              </a:rPr>
              <a:t>Business-value-driven</a:t>
            </a:r>
          </a:p>
          <a:p>
            <a:pPr marL="173736" indent="-173736">
              <a:buFontTx/>
              <a:buChar char="•"/>
              <a:tabLst>
                <a:tab pos="127000" algn="l"/>
              </a:tabLst>
              <a:defRPr/>
            </a:pPr>
            <a:r>
              <a:rPr lang="en-US" sz="1600" spc="-5" dirty="0">
                <a:solidFill>
                  <a:prstClr val="black"/>
                </a:solidFill>
                <a:latin typeface="Arial" panose="020B0604020202020204" pitchFamily="34" charset="0"/>
                <a:cs typeface="Arial" panose="020B0604020202020204" pitchFamily="34" charset="0"/>
              </a:rPr>
              <a:t>Stakeholder partnership</a:t>
            </a:r>
          </a:p>
        </p:txBody>
      </p:sp>
      <p:sp>
        <p:nvSpPr>
          <p:cNvPr id="2" name="Title 1">
            <a:extLst>
              <a:ext uri="{FF2B5EF4-FFF2-40B4-BE49-F238E27FC236}">
                <a16:creationId xmlns:a16="http://schemas.microsoft.com/office/drawing/2014/main" id="{F1C0C7D1-9D25-468A-A085-E85E07AF4C90}"/>
              </a:ext>
            </a:extLst>
          </p:cNvPr>
          <p:cNvSpPr>
            <a:spLocks noGrp="1"/>
          </p:cNvSpPr>
          <p:nvPr>
            <p:ph type="title"/>
          </p:nvPr>
        </p:nvSpPr>
        <p:spPr/>
        <p:txBody>
          <a:bodyPr/>
          <a:lstStyle/>
          <a:p>
            <a:pPr>
              <a:spcBef>
                <a:spcPts val="0"/>
              </a:spcBef>
            </a:pPr>
            <a:r>
              <a:rPr lang="en-US" dirty="0"/>
              <a:t>Manage Cost With an Eye Toward Efficiency</a:t>
            </a:r>
          </a:p>
        </p:txBody>
      </p:sp>
      <p:sp>
        <p:nvSpPr>
          <p:cNvPr id="10" name="object 14">
            <a:extLst>
              <a:ext uri="{FF2B5EF4-FFF2-40B4-BE49-F238E27FC236}">
                <a16:creationId xmlns:a16="http://schemas.microsoft.com/office/drawing/2014/main" id="{32D6E733-5A71-4301-9068-2DFB7603C1A7}"/>
              </a:ext>
            </a:extLst>
          </p:cNvPr>
          <p:cNvSpPr/>
          <p:nvPr/>
        </p:nvSpPr>
        <p:spPr>
          <a:xfrm>
            <a:off x="468489" y="3622228"/>
            <a:ext cx="1190302" cy="1943194"/>
          </a:xfrm>
          <a:custGeom>
            <a:avLst/>
            <a:gdLst/>
            <a:ahLst/>
            <a:cxnLst/>
            <a:rect l="l" t="t" r="r" b="b"/>
            <a:pathLst>
              <a:path w="890905" h="1805939">
                <a:moveTo>
                  <a:pt x="0" y="1805597"/>
                </a:moveTo>
                <a:lnTo>
                  <a:pt x="890816" y="1805597"/>
                </a:lnTo>
                <a:lnTo>
                  <a:pt x="890816" y="0"/>
                </a:lnTo>
                <a:lnTo>
                  <a:pt x="0" y="0"/>
                </a:lnTo>
                <a:lnTo>
                  <a:pt x="0" y="1805597"/>
                </a:lnTo>
                <a:close/>
              </a:path>
            </a:pathLst>
          </a:custGeom>
          <a:solidFill>
            <a:srgbClr val="F4F4F4"/>
          </a:solidFill>
        </p:spPr>
        <p:txBody>
          <a:bodyPr wrap="square" lIns="0" tIns="91440" rIns="0" bIns="0" rtlCol="0"/>
          <a:lstStyle/>
          <a:p>
            <a:pPr marR="0" lvl="0" indent="0" algn="ctr" defTabSz="4572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liminate</a:t>
            </a:r>
          </a:p>
        </p:txBody>
      </p:sp>
      <p:sp>
        <p:nvSpPr>
          <p:cNvPr id="11" name="object 15">
            <a:extLst>
              <a:ext uri="{FF2B5EF4-FFF2-40B4-BE49-F238E27FC236}">
                <a16:creationId xmlns:a16="http://schemas.microsoft.com/office/drawing/2014/main" id="{932C4250-0727-4CF5-815A-1F0F13D718E7}"/>
              </a:ext>
            </a:extLst>
          </p:cNvPr>
          <p:cNvSpPr/>
          <p:nvPr/>
        </p:nvSpPr>
        <p:spPr>
          <a:xfrm>
            <a:off x="1721064" y="3622228"/>
            <a:ext cx="1190302" cy="1943194"/>
          </a:xfrm>
          <a:custGeom>
            <a:avLst/>
            <a:gdLst/>
            <a:ahLst/>
            <a:cxnLst/>
            <a:rect l="l" t="t" r="r" b="b"/>
            <a:pathLst>
              <a:path w="890905" h="1805939">
                <a:moveTo>
                  <a:pt x="0" y="1805597"/>
                </a:moveTo>
                <a:lnTo>
                  <a:pt x="890816" y="1805597"/>
                </a:lnTo>
                <a:lnTo>
                  <a:pt x="890816" y="0"/>
                </a:lnTo>
                <a:lnTo>
                  <a:pt x="0" y="0"/>
                </a:lnTo>
                <a:lnTo>
                  <a:pt x="0" y="1805597"/>
                </a:lnTo>
                <a:close/>
              </a:path>
            </a:pathLst>
          </a:custGeom>
          <a:solidFill>
            <a:srgbClr val="F4F4F4"/>
          </a:solidFill>
        </p:spPr>
        <p:txBody>
          <a:bodyPr wrap="square" lIns="0" tIns="91440" rIns="0" bIns="0" rtlCol="0"/>
          <a:lstStyle/>
          <a:p>
            <a:pPr marR="0" lvl="0" indent="0" algn="ctr" defTabSz="457200" rtl="0" eaLnBrk="1" fontAlgn="auto" latinLnBrk="0" hangingPunct="1">
              <a:spcBef>
                <a:spcPts val="0"/>
              </a:spcBef>
              <a:spcAft>
                <a:spcPts val="0"/>
              </a:spcAft>
              <a:buClrTx/>
              <a:buSzTx/>
              <a:buFontTx/>
              <a:buNone/>
              <a:tabLst/>
              <a:defRPr/>
            </a:pPr>
            <a:r>
              <a:rPr kumimoji="0" lang="en-US" sz="16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tionalize</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object 16">
            <a:extLst>
              <a:ext uri="{FF2B5EF4-FFF2-40B4-BE49-F238E27FC236}">
                <a16:creationId xmlns:a16="http://schemas.microsoft.com/office/drawing/2014/main" id="{8584325A-DEB6-4C8C-9F15-D8C61A1B947A}"/>
              </a:ext>
            </a:extLst>
          </p:cNvPr>
          <p:cNvSpPr/>
          <p:nvPr/>
        </p:nvSpPr>
        <p:spPr>
          <a:xfrm>
            <a:off x="2973656" y="3622228"/>
            <a:ext cx="1190302" cy="1943194"/>
          </a:xfrm>
          <a:custGeom>
            <a:avLst/>
            <a:gdLst/>
            <a:ahLst/>
            <a:cxnLst/>
            <a:rect l="l" t="t" r="r" b="b"/>
            <a:pathLst>
              <a:path w="890905" h="1805939">
                <a:moveTo>
                  <a:pt x="0" y="1805597"/>
                </a:moveTo>
                <a:lnTo>
                  <a:pt x="890816" y="1805597"/>
                </a:lnTo>
                <a:lnTo>
                  <a:pt x="890816" y="0"/>
                </a:lnTo>
                <a:lnTo>
                  <a:pt x="0" y="0"/>
                </a:lnTo>
                <a:lnTo>
                  <a:pt x="0" y="1805597"/>
                </a:lnTo>
                <a:close/>
              </a:path>
            </a:pathLst>
          </a:custGeom>
          <a:solidFill>
            <a:srgbClr val="F4F4F4"/>
          </a:solidFill>
        </p:spPr>
        <p:txBody>
          <a:bodyPr wrap="square" lIns="0" tIns="91440" rIns="0" bIns="0" rtlCol="0"/>
          <a:lstStyle/>
          <a:p>
            <a:pPr marR="0" lvl="0" indent="0" algn="ctr" defTabSz="457200" rtl="0" eaLnBrk="1" fontAlgn="auto" latinLnBrk="0" hangingPunct="1">
              <a:spcBef>
                <a:spcPts val="0"/>
              </a:spcBef>
              <a:spcAft>
                <a:spcPts val="0"/>
              </a:spcAft>
              <a:buClrTx/>
              <a:buSzTx/>
              <a:buFontTx/>
              <a:buNone/>
              <a:tabLst/>
              <a:defRPr/>
            </a:pPr>
            <a:r>
              <a:rPr kumimoji="0" lang="en-US" sz="16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negotiate</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object 20">
            <a:extLst>
              <a:ext uri="{FF2B5EF4-FFF2-40B4-BE49-F238E27FC236}">
                <a16:creationId xmlns:a16="http://schemas.microsoft.com/office/drawing/2014/main" id="{E68320AF-D0F9-405C-9E11-84846F396F3E}"/>
              </a:ext>
            </a:extLst>
          </p:cNvPr>
          <p:cNvSpPr/>
          <p:nvPr/>
        </p:nvSpPr>
        <p:spPr>
          <a:xfrm>
            <a:off x="4226231" y="3622228"/>
            <a:ext cx="1190302" cy="1943194"/>
          </a:xfrm>
          <a:custGeom>
            <a:avLst/>
            <a:gdLst/>
            <a:ahLst/>
            <a:cxnLst/>
            <a:rect l="l" t="t" r="r" b="b"/>
            <a:pathLst>
              <a:path w="890904" h="1805939">
                <a:moveTo>
                  <a:pt x="0" y="1805597"/>
                </a:moveTo>
                <a:lnTo>
                  <a:pt x="890816" y="1805597"/>
                </a:lnTo>
                <a:lnTo>
                  <a:pt x="890816" y="0"/>
                </a:lnTo>
                <a:lnTo>
                  <a:pt x="0" y="0"/>
                </a:lnTo>
                <a:lnTo>
                  <a:pt x="0" y="1805597"/>
                </a:lnTo>
                <a:close/>
              </a:path>
            </a:pathLst>
          </a:custGeom>
          <a:solidFill>
            <a:srgbClr val="FF540A"/>
          </a:solidFill>
        </p:spPr>
        <p:txBody>
          <a:bodyPr wrap="square" lIns="0" tIns="91440" rIns="0" bIns="0" rtlCol="0"/>
          <a:lstStyle/>
          <a:p>
            <a:pPr marR="5080" lvl="0" indent="46989" algn="ctr" defTabSz="457200" rtl="0" eaLnBrk="1" fontAlgn="auto" latinLnBrk="0" hangingPunct="1">
              <a:spcBef>
                <a:spcPts val="0"/>
              </a:spcBef>
              <a:spcAft>
                <a:spcPts val="0"/>
              </a:spcAft>
              <a:buClrTx/>
              <a:buSzTx/>
              <a:buFontTx/>
              <a:buNone/>
              <a:tabLst/>
              <a:defRPr/>
            </a:pPr>
            <a:r>
              <a:rPr kumimoji="0" lang="en-US" sz="1600" b="1" i="0" u="none" strike="noStrike" kern="1200" cap="none" spc="-1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e </a:t>
            </a:r>
          </a:p>
          <a:p>
            <a:pPr marR="5080" lvl="0" indent="46989" algn="ctr" defTabSz="457200" rtl="0" eaLnBrk="1" fontAlgn="auto" latinLnBrk="0" hangingPunct="1">
              <a:spcBef>
                <a:spcPts val="0"/>
              </a:spcBef>
              <a:spcAft>
                <a:spcPts val="0"/>
              </a:spcAft>
              <a:buClrTx/>
              <a:buSzTx/>
              <a:buFontTx/>
              <a:buNone/>
              <a:tabLst/>
              <a:defRPr/>
            </a:pPr>
            <a:r>
              <a:rPr kumimoji="0" lang="en-US" sz="1600" b="1" i="0" u="none" strike="noStrike" kern="1200" cap="none" spc="-1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fficien</a:t>
            </a:r>
            <a:r>
              <a:rPr kumimoji="0" lang="en-US" sz="1600" b="1" i="0" u="none" strike="noStrike" kern="1200" cap="none" spc="-2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a:t>
            </a:r>
          </a:p>
        </p:txBody>
      </p:sp>
      <p:sp>
        <p:nvSpPr>
          <p:cNvPr id="16" name="object 22">
            <a:extLst>
              <a:ext uri="{FF2B5EF4-FFF2-40B4-BE49-F238E27FC236}">
                <a16:creationId xmlns:a16="http://schemas.microsoft.com/office/drawing/2014/main" id="{98287F64-1010-44C8-BC74-A24437B3F2C9}"/>
              </a:ext>
            </a:extLst>
          </p:cNvPr>
          <p:cNvSpPr/>
          <p:nvPr/>
        </p:nvSpPr>
        <p:spPr>
          <a:xfrm>
            <a:off x="5472528" y="3622228"/>
            <a:ext cx="1203028" cy="1943194"/>
          </a:xfrm>
          <a:custGeom>
            <a:avLst/>
            <a:gdLst/>
            <a:ahLst/>
            <a:cxnLst/>
            <a:rect l="l" t="t" r="r" b="b"/>
            <a:pathLst>
              <a:path w="900429" h="1805939">
                <a:moveTo>
                  <a:pt x="0" y="1805597"/>
                </a:moveTo>
                <a:lnTo>
                  <a:pt x="900239" y="1805597"/>
                </a:lnTo>
                <a:lnTo>
                  <a:pt x="900239" y="0"/>
                </a:lnTo>
                <a:lnTo>
                  <a:pt x="0" y="0"/>
                </a:lnTo>
                <a:lnTo>
                  <a:pt x="0" y="1805597"/>
                </a:lnTo>
                <a:close/>
              </a:path>
            </a:pathLst>
          </a:custGeom>
          <a:solidFill>
            <a:srgbClr val="FF540A"/>
          </a:solidFill>
        </p:spPr>
        <p:txBody>
          <a:bodyPr wrap="square" lIns="0" tIns="91440" rIns="0" bIns="0" rtlCol="0"/>
          <a:lstStyle/>
          <a:p>
            <a:pPr marR="5080" lvl="0" indent="118108" algn="ctr" defTabSz="457200" rtl="0" eaLnBrk="1" fontAlgn="auto" latinLnBrk="0" hangingPunct="1">
              <a:spcBef>
                <a:spcPts val="0"/>
              </a:spcBef>
              <a:spcAft>
                <a:spcPts val="0"/>
              </a:spcAft>
              <a:buClrTx/>
              <a:buSzTx/>
              <a:buFontTx/>
              <a:buNone/>
              <a:tabLst/>
              <a:defRPr/>
            </a:pPr>
            <a:r>
              <a:rPr kumimoji="0" lang="en-US" sz="1600" b="1"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 Productivity</a:t>
            </a:r>
            <a:endParaRPr kumimoji="0" lang="en-US" sz="16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object 24">
            <a:extLst>
              <a:ext uri="{FF2B5EF4-FFF2-40B4-BE49-F238E27FC236}">
                <a16:creationId xmlns:a16="http://schemas.microsoft.com/office/drawing/2014/main" id="{36CF1749-6004-441B-93CD-89D9415D1FD1}"/>
              </a:ext>
            </a:extLst>
          </p:cNvPr>
          <p:cNvSpPr/>
          <p:nvPr/>
        </p:nvSpPr>
        <p:spPr>
          <a:xfrm>
            <a:off x="6731398" y="3622228"/>
            <a:ext cx="1190302" cy="1943194"/>
          </a:xfrm>
          <a:custGeom>
            <a:avLst/>
            <a:gdLst/>
            <a:ahLst/>
            <a:cxnLst/>
            <a:rect l="l" t="t" r="r" b="b"/>
            <a:pathLst>
              <a:path w="890904" h="1805939">
                <a:moveTo>
                  <a:pt x="0" y="1805597"/>
                </a:moveTo>
                <a:lnTo>
                  <a:pt x="890816" y="1805597"/>
                </a:lnTo>
                <a:lnTo>
                  <a:pt x="890816" y="0"/>
                </a:lnTo>
                <a:lnTo>
                  <a:pt x="0" y="0"/>
                </a:lnTo>
                <a:lnTo>
                  <a:pt x="0" y="1805597"/>
                </a:lnTo>
                <a:close/>
              </a:path>
            </a:pathLst>
          </a:custGeom>
          <a:solidFill>
            <a:srgbClr val="F4F4F4"/>
          </a:solidFill>
        </p:spPr>
        <p:txBody>
          <a:bodyPr wrap="square" lIns="0" tIns="91440" rIns="0" bIns="0" rtlCol="0"/>
          <a:lstStyle/>
          <a:p>
            <a:pPr marR="5080" lvl="0" indent="49529" algn="ctr" defTabSz="4572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ift spend</a:t>
            </a:r>
          </a:p>
        </p:txBody>
      </p:sp>
      <p:sp>
        <p:nvSpPr>
          <p:cNvPr id="18" name="object 26">
            <a:extLst>
              <a:ext uri="{FF2B5EF4-FFF2-40B4-BE49-F238E27FC236}">
                <a16:creationId xmlns:a16="http://schemas.microsoft.com/office/drawing/2014/main" id="{FB1F4770-823A-4E6A-BA52-BDC81A38B908}"/>
              </a:ext>
            </a:extLst>
          </p:cNvPr>
          <p:cNvSpPr/>
          <p:nvPr/>
        </p:nvSpPr>
        <p:spPr>
          <a:xfrm>
            <a:off x="4228657" y="3179624"/>
            <a:ext cx="3690531" cy="398519"/>
          </a:xfrm>
          <a:custGeom>
            <a:avLst/>
            <a:gdLst/>
            <a:ahLst/>
            <a:cxnLst/>
            <a:rect l="l" t="t" r="r" b="b"/>
            <a:pathLst>
              <a:path w="2762250" h="362585">
                <a:moveTo>
                  <a:pt x="0" y="362165"/>
                </a:moveTo>
                <a:lnTo>
                  <a:pt x="2762237" y="362165"/>
                </a:lnTo>
                <a:lnTo>
                  <a:pt x="2762237" y="0"/>
                </a:lnTo>
                <a:lnTo>
                  <a:pt x="0" y="0"/>
                </a:lnTo>
                <a:lnTo>
                  <a:pt x="0" y="362165"/>
                </a:lnTo>
                <a:close/>
              </a:path>
            </a:pathLst>
          </a:custGeom>
          <a:solidFill>
            <a:srgbClr val="009AD7"/>
          </a:solidFill>
        </p:spPr>
        <p:txBody>
          <a:bodyPr wrap="square" lIns="0" tIns="0" rIns="0" bIns="0" rtlCol="0" anchor="ctr"/>
          <a:lstStyle/>
          <a:p>
            <a:pPr marL="12700" marR="0" lvl="0" indent="0" algn="ctr" defTabSz="4572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uctured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end </a:t>
            </a:r>
            <a:r>
              <a:rPr kumimoji="0" lang="en-US" sz="1600" b="1"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timization</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object 28">
            <a:extLst>
              <a:ext uri="{FF2B5EF4-FFF2-40B4-BE49-F238E27FC236}">
                <a16:creationId xmlns:a16="http://schemas.microsoft.com/office/drawing/2014/main" id="{7A26114F-F5EA-4CFD-BC8D-D0D58482B086}"/>
              </a:ext>
            </a:extLst>
          </p:cNvPr>
          <p:cNvSpPr/>
          <p:nvPr/>
        </p:nvSpPr>
        <p:spPr>
          <a:xfrm>
            <a:off x="7983972" y="3622228"/>
            <a:ext cx="895060" cy="1943194"/>
          </a:xfrm>
          <a:custGeom>
            <a:avLst/>
            <a:gdLst/>
            <a:ahLst/>
            <a:cxnLst/>
            <a:rect l="l" t="t" r="r" b="b"/>
            <a:pathLst>
              <a:path w="669925" h="1805939">
                <a:moveTo>
                  <a:pt x="0" y="1805597"/>
                </a:moveTo>
                <a:lnTo>
                  <a:pt x="669391" y="1805597"/>
                </a:lnTo>
                <a:lnTo>
                  <a:pt x="669391" y="0"/>
                </a:lnTo>
                <a:lnTo>
                  <a:pt x="0" y="0"/>
                </a:lnTo>
                <a:lnTo>
                  <a:pt x="0" y="1805597"/>
                </a:lnTo>
                <a:close/>
              </a:path>
            </a:pathLst>
          </a:custGeom>
          <a:solidFill>
            <a:srgbClr val="F4F4F4"/>
          </a:solidFill>
        </p:spPr>
        <p:txBody>
          <a:bodyPr wrap="square" lIns="0" tIns="91440" rIns="0" bIns="0" rtlCol="0"/>
          <a:lstStyle/>
          <a:p>
            <a:pPr marR="5080" lvl="0" indent="-80643" algn="ctr" defTabSz="4572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ign</a:t>
            </a:r>
            <a:r>
              <a:rPr kumimoji="0" lang="en-US" sz="1600" b="0" i="0" u="none" strike="noStrike" kern="1200" cap="none" spc="-9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a:t>
            </a:r>
            <a:r>
              <a:rPr kumimoji="0" lang="en-US" sz="16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lue</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object 30">
            <a:extLst>
              <a:ext uri="{FF2B5EF4-FFF2-40B4-BE49-F238E27FC236}">
                <a16:creationId xmlns:a16="http://schemas.microsoft.com/office/drawing/2014/main" id="{75E5F177-D69E-4B1E-8086-2E5EBCC1F136}"/>
              </a:ext>
            </a:extLst>
          </p:cNvPr>
          <p:cNvSpPr/>
          <p:nvPr/>
        </p:nvSpPr>
        <p:spPr>
          <a:xfrm>
            <a:off x="9897465" y="3622228"/>
            <a:ext cx="895060" cy="1943194"/>
          </a:xfrm>
          <a:custGeom>
            <a:avLst/>
            <a:gdLst/>
            <a:ahLst/>
            <a:cxnLst/>
            <a:rect l="l" t="t" r="r" b="b"/>
            <a:pathLst>
              <a:path w="669925" h="1805939">
                <a:moveTo>
                  <a:pt x="0" y="1805597"/>
                </a:moveTo>
                <a:lnTo>
                  <a:pt x="669391" y="1805597"/>
                </a:lnTo>
                <a:lnTo>
                  <a:pt x="669391" y="0"/>
                </a:lnTo>
                <a:lnTo>
                  <a:pt x="0" y="0"/>
                </a:lnTo>
                <a:lnTo>
                  <a:pt x="0" y="1805597"/>
                </a:lnTo>
                <a:close/>
              </a:path>
            </a:pathLst>
          </a:custGeom>
          <a:solidFill>
            <a:srgbClr val="F4F4F4"/>
          </a:solidFill>
        </p:spPr>
        <p:txBody>
          <a:bodyPr wrap="square" lIns="0" tIns="91440" rIns="0" bIns="0" rtlCol="0"/>
          <a:lstStyle/>
          <a:p>
            <a:pPr marR="5080" lvl="0" indent="0" algn="ctr" defTabSz="457200" rtl="0" eaLnBrk="1" fontAlgn="auto" latinLnBrk="0" hangingPunct="1">
              <a:spcBef>
                <a:spcPts val="0"/>
              </a:spcBef>
              <a:spcAft>
                <a:spcPts val="0"/>
              </a:spcAft>
              <a:buClrTx/>
              <a:buSzTx/>
              <a:buFontTx/>
              <a:buNone/>
              <a:tabLst/>
              <a:defRPr/>
            </a:pPr>
            <a:r>
              <a:rPr kumimoji="0" lang="en-US" sz="16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ecute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M</a:t>
            </a:r>
            <a:r>
              <a:rPr kumimoji="0" lang="en-US" sz="16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u</a:t>
            </a:r>
            <a:r>
              <a:rPr kumimoji="0" lang="en-US" sz="16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p>
        </p:txBody>
      </p:sp>
      <p:sp>
        <p:nvSpPr>
          <p:cNvPr id="21" name="object 32">
            <a:extLst>
              <a:ext uri="{FF2B5EF4-FFF2-40B4-BE49-F238E27FC236}">
                <a16:creationId xmlns:a16="http://schemas.microsoft.com/office/drawing/2014/main" id="{FC9BA28C-C45E-49D5-9C47-FED03D494AEC}"/>
              </a:ext>
            </a:extLst>
          </p:cNvPr>
          <p:cNvSpPr/>
          <p:nvPr/>
        </p:nvSpPr>
        <p:spPr>
          <a:xfrm>
            <a:off x="8940727" y="3622228"/>
            <a:ext cx="895060" cy="1943194"/>
          </a:xfrm>
          <a:custGeom>
            <a:avLst/>
            <a:gdLst/>
            <a:ahLst/>
            <a:cxnLst/>
            <a:rect l="l" t="t" r="r" b="b"/>
            <a:pathLst>
              <a:path w="669925" h="1805939">
                <a:moveTo>
                  <a:pt x="0" y="1805597"/>
                </a:moveTo>
                <a:lnTo>
                  <a:pt x="669391" y="1805597"/>
                </a:lnTo>
                <a:lnTo>
                  <a:pt x="669391" y="0"/>
                </a:lnTo>
                <a:lnTo>
                  <a:pt x="0" y="0"/>
                </a:lnTo>
                <a:lnTo>
                  <a:pt x="0" y="1805597"/>
                </a:lnTo>
                <a:close/>
              </a:path>
            </a:pathLst>
          </a:custGeom>
          <a:solidFill>
            <a:srgbClr val="F4F4F4"/>
          </a:solidFill>
        </p:spPr>
        <p:txBody>
          <a:bodyPr wrap="square" lIns="0" tIns="91440" rIns="0" bIns="0" rtlCol="0"/>
          <a:lstStyle/>
          <a:p>
            <a:pPr marR="5080" lvl="0" indent="3175" algn="ctr" defTabSz="4572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n</a:t>
            </a:r>
            <a:r>
              <a:rPr kumimoji="0" lang="en-US" sz="1600" b="0" i="0" u="none" strike="noStrike" kern="1200" cap="none" spc="-9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a:t>
            </a:r>
            <a:r>
              <a:rPr kumimoji="0" lang="en-US" sz="1600" b="0" i="0" u="none" strike="noStrike" kern="1200" cap="none" spc="-1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iti</a:t>
            </a:r>
            <a:r>
              <a:rPr kumimoji="0" lang="en-US" sz="16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p>
        </p:txBody>
      </p:sp>
      <p:sp>
        <p:nvSpPr>
          <p:cNvPr id="22" name="object 34">
            <a:extLst>
              <a:ext uri="{FF2B5EF4-FFF2-40B4-BE49-F238E27FC236}">
                <a16:creationId xmlns:a16="http://schemas.microsoft.com/office/drawing/2014/main" id="{39AEB9EF-5B91-4B94-8B95-D692FCDCC732}"/>
              </a:ext>
            </a:extLst>
          </p:cNvPr>
          <p:cNvSpPr/>
          <p:nvPr/>
        </p:nvSpPr>
        <p:spPr>
          <a:xfrm>
            <a:off x="10854204" y="3622228"/>
            <a:ext cx="895060" cy="1943194"/>
          </a:xfrm>
          <a:custGeom>
            <a:avLst/>
            <a:gdLst/>
            <a:ahLst/>
            <a:cxnLst/>
            <a:rect l="l" t="t" r="r" b="b"/>
            <a:pathLst>
              <a:path w="669925" h="1805939">
                <a:moveTo>
                  <a:pt x="0" y="1805597"/>
                </a:moveTo>
                <a:lnTo>
                  <a:pt x="669391" y="1805597"/>
                </a:lnTo>
                <a:lnTo>
                  <a:pt x="669391" y="0"/>
                </a:lnTo>
                <a:lnTo>
                  <a:pt x="0" y="0"/>
                </a:lnTo>
                <a:lnTo>
                  <a:pt x="0" y="1805597"/>
                </a:lnTo>
                <a:close/>
              </a:path>
            </a:pathLst>
          </a:custGeom>
          <a:solidFill>
            <a:srgbClr val="F4F4F4"/>
          </a:solidFill>
        </p:spPr>
        <p:txBody>
          <a:bodyPr wrap="square" lIns="0" tIns="91440" rIns="0" bIns="0" rtlCol="0"/>
          <a:lstStyle/>
          <a:p>
            <a:pPr marR="5080" lvl="0" indent="0" algn="ctr" defTabSz="457200" rtl="0" eaLnBrk="1" fontAlgn="auto" latinLnBrk="0" hangingPunct="1">
              <a:spcBef>
                <a:spcPts val="0"/>
              </a:spcBef>
              <a:spcAft>
                <a:spcPts val="0"/>
              </a:spcAft>
              <a:buClrTx/>
              <a:buSzTx/>
              <a:buFontTx/>
              <a:buNone/>
              <a:tabLst/>
              <a:defRPr/>
            </a:pPr>
            <a:r>
              <a:rPr kumimoji="0" lang="en-US" sz="16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erate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Inn</a:t>
            </a:r>
            <a:r>
              <a:rPr kumimoji="0" lang="en-US" sz="16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a:t>
            </a:r>
            <a:r>
              <a:rPr kumimoji="0" lang="en-US" sz="1600" b="0" i="0" u="none" strike="noStrike" kern="1200" cap="none" spc="-1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e</a:t>
            </a:r>
          </a:p>
        </p:txBody>
      </p:sp>
      <p:sp>
        <p:nvSpPr>
          <p:cNvPr id="23" name="object 36">
            <a:extLst>
              <a:ext uri="{FF2B5EF4-FFF2-40B4-BE49-F238E27FC236}">
                <a16:creationId xmlns:a16="http://schemas.microsoft.com/office/drawing/2014/main" id="{4CA46946-3CB9-48FA-9C6C-F10FFBA53173}"/>
              </a:ext>
            </a:extLst>
          </p:cNvPr>
          <p:cNvSpPr/>
          <p:nvPr/>
        </p:nvSpPr>
        <p:spPr>
          <a:xfrm>
            <a:off x="7983972" y="3179624"/>
            <a:ext cx="3759251" cy="398519"/>
          </a:xfrm>
          <a:custGeom>
            <a:avLst/>
            <a:gdLst/>
            <a:ahLst/>
            <a:cxnLst/>
            <a:rect l="l" t="t" r="r" b="b"/>
            <a:pathLst>
              <a:path w="2813684" h="362585">
                <a:moveTo>
                  <a:pt x="0" y="362165"/>
                </a:moveTo>
                <a:lnTo>
                  <a:pt x="2813253" y="362165"/>
                </a:lnTo>
                <a:lnTo>
                  <a:pt x="2813253" y="0"/>
                </a:lnTo>
                <a:lnTo>
                  <a:pt x="0" y="0"/>
                </a:lnTo>
                <a:lnTo>
                  <a:pt x="0" y="362165"/>
                </a:lnTo>
                <a:close/>
              </a:path>
            </a:pathLst>
          </a:custGeom>
          <a:solidFill>
            <a:srgbClr val="002856"/>
          </a:solidFill>
        </p:spPr>
        <p:txBody>
          <a:bodyPr wrap="square" lIns="0" tIns="0" rIns="0" bIns="0" rtlCol="0" anchor="ctr"/>
          <a:lstStyle/>
          <a:p>
            <a:pPr marL="12700" marR="0" lvl="0" indent="0" algn="ctr" defTabSz="4572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1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vest </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 Business</a:t>
            </a:r>
            <a:r>
              <a:rPr kumimoji="0" lang="en-US" sz="1600" b="1" i="0" u="none" strike="noStrike" kern="1200" cap="none" spc="-6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utcome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object 59">
            <a:extLst>
              <a:ext uri="{FF2B5EF4-FFF2-40B4-BE49-F238E27FC236}">
                <a16:creationId xmlns:a16="http://schemas.microsoft.com/office/drawing/2014/main" id="{5797EE22-FFB8-485E-B270-63A552F4D7FD}"/>
              </a:ext>
            </a:extLst>
          </p:cNvPr>
          <p:cNvSpPr/>
          <p:nvPr/>
        </p:nvSpPr>
        <p:spPr>
          <a:xfrm>
            <a:off x="468489" y="5108148"/>
            <a:ext cx="11280299" cy="881489"/>
          </a:xfrm>
          <a:custGeom>
            <a:avLst/>
            <a:gdLst/>
            <a:ahLst/>
            <a:cxnLst/>
            <a:rect l="l" t="t" r="r" b="b"/>
            <a:pathLst>
              <a:path w="8442960" h="802004">
                <a:moveTo>
                  <a:pt x="8042008" y="0"/>
                </a:moveTo>
                <a:lnTo>
                  <a:pt x="8042008" y="171754"/>
                </a:lnTo>
                <a:lnTo>
                  <a:pt x="0" y="171754"/>
                </a:lnTo>
                <a:lnTo>
                  <a:pt x="0" y="629793"/>
                </a:lnTo>
                <a:lnTo>
                  <a:pt x="8042008" y="629793"/>
                </a:lnTo>
                <a:lnTo>
                  <a:pt x="8042008" y="801547"/>
                </a:lnTo>
                <a:lnTo>
                  <a:pt x="8442782" y="400773"/>
                </a:lnTo>
                <a:lnTo>
                  <a:pt x="8042008" y="0"/>
                </a:lnTo>
                <a:close/>
              </a:path>
            </a:pathLst>
          </a:custGeom>
          <a:solidFill>
            <a:srgbClr val="002855"/>
          </a:solidFill>
        </p:spPr>
        <p:txBody>
          <a:bodyPr wrap="square" lIns="0" tIns="0" rIns="0" bIns="0" rtlCol="0" anchor="ctr"/>
          <a:lstStyle/>
          <a:p>
            <a:pPr marL="12700" marR="0" lvl="0" indent="0" algn="ctr" defTabSz="4572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alue </a:t>
            </a:r>
            <a:r>
              <a:rPr kumimoji="0" lang="en-US" sz="1600" b="1"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alization </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d Risk</a:t>
            </a:r>
            <a:r>
              <a:rPr kumimoji="0" lang="en-US" sz="1600" b="1"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Optimization</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object 18">
            <a:extLst>
              <a:ext uri="{FF2B5EF4-FFF2-40B4-BE49-F238E27FC236}">
                <a16:creationId xmlns:a16="http://schemas.microsoft.com/office/drawing/2014/main" id="{4FCAA164-B6BF-44BB-A8F6-9F02D9045D4C}"/>
              </a:ext>
            </a:extLst>
          </p:cNvPr>
          <p:cNvSpPr/>
          <p:nvPr/>
        </p:nvSpPr>
        <p:spPr>
          <a:xfrm>
            <a:off x="468489" y="3179624"/>
            <a:ext cx="3690531" cy="398519"/>
          </a:xfrm>
          <a:custGeom>
            <a:avLst/>
            <a:gdLst/>
            <a:ahLst/>
            <a:cxnLst/>
            <a:rect l="l" t="t" r="r" b="b"/>
            <a:pathLst>
              <a:path w="2762250" h="362585">
                <a:moveTo>
                  <a:pt x="0" y="362165"/>
                </a:moveTo>
                <a:lnTo>
                  <a:pt x="2762237" y="362165"/>
                </a:lnTo>
                <a:lnTo>
                  <a:pt x="2762237" y="0"/>
                </a:lnTo>
                <a:lnTo>
                  <a:pt x="0" y="0"/>
                </a:lnTo>
                <a:lnTo>
                  <a:pt x="0" y="362165"/>
                </a:lnTo>
                <a:close/>
              </a:path>
            </a:pathLst>
          </a:custGeom>
          <a:solidFill>
            <a:srgbClr val="6F7878"/>
          </a:solidFill>
        </p:spPr>
        <p:txBody>
          <a:bodyPr wrap="square" lIns="0" tIns="0" rIns="0" bIns="0" rtlCol="0" anchor="ctr"/>
          <a:lstStyle/>
          <a:p>
            <a:pPr marL="12700" marR="0" lvl="0" indent="0" algn="ctr" defTabSz="4572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ut</a:t>
            </a:r>
            <a:r>
              <a:rPr kumimoji="0" lang="en-US" sz="1600" b="1" i="0" u="none" strike="noStrike" kern="1200" cap="none" spc="-1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enditure</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Freeform: Shape 28">
            <a:extLst>
              <a:ext uri="{FF2B5EF4-FFF2-40B4-BE49-F238E27FC236}">
                <a16:creationId xmlns:a16="http://schemas.microsoft.com/office/drawing/2014/main" id="{227C0B82-F203-4970-A9DC-5F291DB3B37C}"/>
              </a:ext>
            </a:extLst>
          </p:cNvPr>
          <p:cNvSpPr/>
          <p:nvPr/>
        </p:nvSpPr>
        <p:spPr>
          <a:xfrm>
            <a:off x="9192627" y="4569236"/>
            <a:ext cx="396956" cy="480041"/>
          </a:xfrm>
          <a:custGeom>
            <a:avLst/>
            <a:gdLst>
              <a:gd name="connsiteX0" fmla="*/ 50768 w 409575"/>
              <a:gd name="connsiteY0" fmla="*/ 134779 h 495300"/>
              <a:gd name="connsiteX1" fmla="*/ 84963 w 409575"/>
              <a:gd name="connsiteY1" fmla="*/ 100584 h 495300"/>
              <a:gd name="connsiteX2" fmla="*/ 50768 w 409575"/>
              <a:gd name="connsiteY2" fmla="*/ 66389 h 495300"/>
              <a:gd name="connsiteX3" fmla="*/ 77724 w 409575"/>
              <a:gd name="connsiteY3" fmla="*/ 39434 h 495300"/>
              <a:gd name="connsiteX4" fmla="*/ 111919 w 409575"/>
              <a:gd name="connsiteY4" fmla="*/ 73628 h 495300"/>
              <a:gd name="connsiteX5" fmla="*/ 146113 w 409575"/>
              <a:gd name="connsiteY5" fmla="*/ 39434 h 495300"/>
              <a:gd name="connsiteX6" fmla="*/ 173069 w 409575"/>
              <a:gd name="connsiteY6" fmla="*/ 66389 h 495300"/>
              <a:gd name="connsiteX7" fmla="*/ 138874 w 409575"/>
              <a:gd name="connsiteY7" fmla="*/ 100584 h 495300"/>
              <a:gd name="connsiteX8" fmla="*/ 173069 w 409575"/>
              <a:gd name="connsiteY8" fmla="*/ 134779 h 495300"/>
              <a:gd name="connsiteX9" fmla="*/ 146113 w 409575"/>
              <a:gd name="connsiteY9" fmla="*/ 161735 h 495300"/>
              <a:gd name="connsiteX10" fmla="*/ 111919 w 409575"/>
              <a:gd name="connsiteY10" fmla="*/ 127540 h 495300"/>
              <a:gd name="connsiteX11" fmla="*/ 77724 w 409575"/>
              <a:gd name="connsiteY11" fmla="*/ 161735 h 495300"/>
              <a:gd name="connsiteX12" fmla="*/ 50768 w 409575"/>
              <a:gd name="connsiteY12" fmla="*/ 134779 h 495300"/>
              <a:gd name="connsiteX13" fmla="*/ 411099 w 409575"/>
              <a:gd name="connsiteY13" fmla="*/ 87154 h 495300"/>
              <a:gd name="connsiteX14" fmla="*/ 384143 w 409575"/>
              <a:gd name="connsiteY14" fmla="*/ 114110 h 495300"/>
              <a:gd name="connsiteX15" fmla="*/ 349377 w 409575"/>
              <a:gd name="connsiteY15" fmla="*/ 79343 h 495300"/>
              <a:gd name="connsiteX16" fmla="*/ 349377 w 409575"/>
              <a:gd name="connsiteY16" fmla="*/ 268224 h 495300"/>
              <a:gd name="connsiteX17" fmla="*/ 91821 w 409575"/>
              <a:gd name="connsiteY17" fmla="*/ 268224 h 495300"/>
              <a:gd name="connsiteX18" fmla="*/ 92678 w 409575"/>
              <a:gd name="connsiteY18" fmla="*/ 360521 h 495300"/>
              <a:gd name="connsiteX19" fmla="*/ 140494 w 409575"/>
              <a:gd name="connsiteY19" fmla="*/ 424434 h 495300"/>
              <a:gd name="connsiteX20" fmla="*/ 73819 w 409575"/>
              <a:gd name="connsiteY20" fmla="*/ 491109 h 495300"/>
              <a:gd name="connsiteX21" fmla="*/ 7144 w 409575"/>
              <a:gd name="connsiteY21" fmla="*/ 424434 h 495300"/>
              <a:gd name="connsiteX22" fmla="*/ 54578 w 409575"/>
              <a:gd name="connsiteY22" fmla="*/ 360617 h 495300"/>
              <a:gd name="connsiteX23" fmla="*/ 53340 w 409575"/>
              <a:gd name="connsiteY23" fmla="*/ 230124 h 495300"/>
              <a:gd name="connsiteX24" fmla="*/ 311277 w 409575"/>
              <a:gd name="connsiteY24" fmla="*/ 230124 h 495300"/>
              <a:gd name="connsiteX25" fmla="*/ 311277 w 409575"/>
              <a:gd name="connsiteY25" fmla="*/ 81058 h 495300"/>
              <a:gd name="connsiteX26" fmla="*/ 278321 w 409575"/>
              <a:gd name="connsiteY26" fmla="*/ 114014 h 495300"/>
              <a:gd name="connsiteX27" fmla="*/ 251365 w 409575"/>
              <a:gd name="connsiteY27" fmla="*/ 87059 h 495300"/>
              <a:gd name="connsiteX28" fmla="*/ 331184 w 409575"/>
              <a:gd name="connsiteY28" fmla="*/ 7144 h 495300"/>
              <a:gd name="connsiteX29" fmla="*/ 411099 w 409575"/>
              <a:gd name="connsiteY29" fmla="*/ 87154 h 495300"/>
              <a:gd name="connsiteX30" fmla="*/ 73819 w 409575"/>
              <a:gd name="connsiteY30" fmla="*/ 395859 h 495300"/>
              <a:gd name="connsiteX31" fmla="*/ 45244 w 409575"/>
              <a:gd name="connsiteY31" fmla="*/ 424434 h 495300"/>
              <a:gd name="connsiteX32" fmla="*/ 73819 w 409575"/>
              <a:gd name="connsiteY32" fmla="*/ 453009 h 495300"/>
              <a:gd name="connsiteX33" fmla="*/ 102394 w 409575"/>
              <a:gd name="connsiteY33" fmla="*/ 424434 h 495300"/>
              <a:gd name="connsiteX34" fmla="*/ 73819 w 409575"/>
              <a:gd name="connsiteY34" fmla="*/ 395859 h 495300"/>
              <a:gd name="connsiteX35" fmla="*/ 327565 w 409575"/>
              <a:gd name="connsiteY35" fmla="*/ 344329 h 495300"/>
              <a:gd name="connsiteX36" fmla="*/ 293370 w 409575"/>
              <a:gd name="connsiteY36" fmla="*/ 378524 h 495300"/>
              <a:gd name="connsiteX37" fmla="*/ 259175 w 409575"/>
              <a:gd name="connsiteY37" fmla="*/ 344329 h 495300"/>
              <a:gd name="connsiteX38" fmla="*/ 232220 w 409575"/>
              <a:gd name="connsiteY38" fmla="*/ 371285 h 495300"/>
              <a:gd name="connsiteX39" fmla="*/ 266414 w 409575"/>
              <a:gd name="connsiteY39" fmla="*/ 405479 h 495300"/>
              <a:gd name="connsiteX40" fmla="*/ 232220 w 409575"/>
              <a:gd name="connsiteY40" fmla="*/ 439674 h 495300"/>
              <a:gd name="connsiteX41" fmla="*/ 259175 w 409575"/>
              <a:gd name="connsiteY41" fmla="*/ 466630 h 495300"/>
              <a:gd name="connsiteX42" fmla="*/ 293370 w 409575"/>
              <a:gd name="connsiteY42" fmla="*/ 432435 h 495300"/>
              <a:gd name="connsiteX43" fmla="*/ 327565 w 409575"/>
              <a:gd name="connsiteY43" fmla="*/ 466630 h 495300"/>
              <a:gd name="connsiteX44" fmla="*/ 354521 w 409575"/>
              <a:gd name="connsiteY44" fmla="*/ 439674 h 495300"/>
              <a:gd name="connsiteX45" fmla="*/ 320326 w 409575"/>
              <a:gd name="connsiteY45" fmla="*/ 405479 h 495300"/>
              <a:gd name="connsiteX46" fmla="*/ 354521 w 409575"/>
              <a:gd name="connsiteY46" fmla="*/ 371285 h 495300"/>
              <a:gd name="connsiteX47" fmla="*/ 327565 w 409575"/>
              <a:gd name="connsiteY47" fmla="*/ 344329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9575" h="495300">
                <a:moveTo>
                  <a:pt x="50768" y="134779"/>
                </a:moveTo>
                <a:lnTo>
                  <a:pt x="84963" y="100584"/>
                </a:lnTo>
                <a:lnTo>
                  <a:pt x="50768" y="66389"/>
                </a:lnTo>
                <a:lnTo>
                  <a:pt x="77724" y="39434"/>
                </a:lnTo>
                <a:lnTo>
                  <a:pt x="111919" y="73628"/>
                </a:lnTo>
                <a:lnTo>
                  <a:pt x="146113" y="39434"/>
                </a:lnTo>
                <a:lnTo>
                  <a:pt x="173069" y="66389"/>
                </a:lnTo>
                <a:lnTo>
                  <a:pt x="138874" y="100584"/>
                </a:lnTo>
                <a:lnTo>
                  <a:pt x="173069" y="134779"/>
                </a:lnTo>
                <a:lnTo>
                  <a:pt x="146113" y="161735"/>
                </a:lnTo>
                <a:lnTo>
                  <a:pt x="111919" y="127540"/>
                </a:lnTo>
                <a:lnTo>
                  <a:pt x="77724" y="161735"/>
                </a:lnTo>
                <a:lnTo>
                  <a:pt x="50768" y="134779"/>
                </a:lnTo>
                <a:close/>
                <a:moveTo>
                  <a:pt x="411099" y="87154"/>
                </a:moveTo>
                <a:lnTo>
                  <a:pt x="384143" y="114110"/>
                </a:lnTo>
                <a:lnTo>
                  <a:pt x="349377" y="79343"/>
                </a:lnTo>
                <a:lnTo>
                  <a:pt x="349377" y="268224"/>
                </a:lnTo>
                <a:lnTo>
                  <a:pt x="91821" y="268224"/>
                </a:lnTo>
                <a:lnTo>
                  <a:pt x="92678" y="360521"/>
                </a:lnTo>
                <a:cubicBezTo>
                  <a:pt x="120301" y="368713"/>
                  <a:pt x="140494" y="394240"/>
                  <a:pt x="140494" y="424434"/>
                </a:cubicBezTo>
                <a:cubicBezTo>
                  <a:pt x="140494" y="461201"/>
                  <a:pt x="110585" y="491109"/>
                  <a:pt x="73819" y="491109"/>
                </a:cubicBezTo>
                <a:cubicBezTo>
                  <a:pt x="37052" y="491109"/>
                  <a:pt x="7144" y="461201"/>
                  <a:pt x="7144" y="424434"/>
                </a:cubicBezTo>
                <a:cubicBezTo>
                  <a:pt x="7144" y="394335"/>
                  <a:pt x="27146" y="368903"/>
                  <a:pt x="54578" y="360617"/>
                </a:cubicBezTo>
                <a:lnTo>
                  <a:pt x="53340" y="230124"/>
                </a:lnTo>
                <a:lnTo>
                  <a:pt x="311277" y="230124"/>
                </a:lnTo>
                <a:lnTo>
                  <a:pt x="311277" y="81058"/>
                </a:lnTo>
                <a:lnTo>
                  <a:pt x="278321" y="114014"/>
                </a:lnTo>
                <a:lnTo>
                  <a:pt x="251365" y="87059"/>
                </a:lnTo>
                <a:lnTo>
                  <a:pt x="331184" y="7144"/>
                </a:lnTo>
                <a:lnTo>
                  <a:pt x="411099" y="87154"/>
                </a:lnTo>
                <a:close/>
                <a:moveTo>
                  <a:pt x="73819" y="395859"/>
                </a:moveTo>
                <a:cubicBezTo>
                  <a:pt x="58103" y="395859"/>
                  <a:pt x="45244" y="408718"/>
                  <a:pt x="45244" y="424434"/>
                </a:cubicBezTo>
                <a:cubicBezTo>
                  <a:pt x="45244" y="440150"/>
                  <a:pt x="58103" y="453009"/>
                  <a:pt x="73819" y="453009"/>
                </a:cubicBezTo>
                <a:cubicBezTo>
                  <a:pt x="89535" y="453009"/>
                  <a:pt x="102394" y="440150"/>
                  <a:pt x="102394" y="424434"/>
                </a:cubicBezTo>
                <a:cubicBezTo>
                  <a:pt x="102394" y="408718"/>
                  <a:pt x="89535" y="395859"/>
                  <a:pt x="73819" y="395859"/>
                </a:cubicBezTo>
                <a:close/>
                <a:moveTo>
                  <a:pt x="327565" y="344329"/>
                </a:moveTo>
                <a:lnTo>
                  <a:pt x="293370" y="378524"/>
                </a:lnTo>
                <a:lnTo>
                  <a:pt x="259175" y="344329"/>
                </a:lnTo>
                <a:lnTo>
                  <a:pt x="232220" y="371285"/>
                </a:lnTo>
                <a:lnTo>
                  <a:pt x="266414" y="405479"/>
                </a:lnTo>
                <a:lnTo>
                  <a:pt x="232220" y="439674"/>
                </a:lnTo>
                <a:lnTo>
                  <a:pt x="259175" y="466630"/>
                </a:lnTo>
                <a:lnTo>
                  <a:pt x="293370" y="432435"/>
                </a:lnTo>
                <a:lnTo>
                  <a:pt x="327565" y="466630"/>
                </a:lnTo>
                <a:lnTo>
                  <a:pt x="354521" y="439674"/>
                </a:lnTo>
                <a:lnTo>
                  <a:pt x="320326" y="405479"/>
                </a:lnTo>
                <a:lnTo>
                  <a:pt x="354521" y="371285"/>
                </a:lnTo>
                <a:lnTo>
                  <a:pt x="327565" y="344329"/>
                </a:ln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824D5B0D-D310-4A2C-90EA-1532EF611AFA}"/>
              </a:ext>
            </a:extLst>
          </p:cNvPr>
          <p:cNvSpPr/>
          <p:nvPr/>
        </p:nvSpPr>
        <p:spPr>
          <a:xfrm>
            <a:off x="4576746" y="4601547"/>
            <a:ext cx="489272" cy="415419"/>
          </a:xfrm>
          <a:custGeom>
            <a:avLst/>
            <a:gdLst>
              <a:gd name="connsiteX0" fmla="*/ 502444 w 504825"/>
              <a:gd name="connsiteY0" fmla="*/ 388144 h 428625"/>
              <a:gd name="connsiteX1" fmla="*/ 502444 w 504825"/>
              <a:gd name="connsiteY1" fmla="*/ 426244 h 428625"/>
              <a:gd name="connsiteX2" fmla="*/ 7144 w 504825"/>
              <a:gd name="connsiteY2" fmla="*/ 426244 h 428625"/>
              <a:gd name="connsiteX3" fmla="*/ 7144 w 504825"/>
              <a:gd name="connsiteY3" fmla="*/ 7144 h 428625"/>
              <a:gd name="connsiteX4" fmla="*/ 45244 w 504825"/>
              <a:gd name="connsiteY4" fmla="*/ 7144 h 428625"/>
              <a:gd name="connsiteX5" fmla="*/ 45244 w 504825"/>
              <a:gd name="connsiteY5" fmla="*/ 388144 h 428625"/>
              <a:gd name="connsiteX6" fmla="*/ 502444 w 504825"/>
              <a:gd name="connsiteY6" fmla="*/ 388144 h 428625"/>
              <a:gd name="connsiteX7" fmla="*/ 235744 w 504825"/>
              <a:gd name="connsiteY7" fmla="*/ 224600 h 428625"/>
              <a:gd name="connsiteX8" fmla="*/ 292894 w 504825"/>
              <a:gd name="connsiteY8" fmla="*/ 281750 h 428625"/>
              <a:gd name="connsiteX9" fmla="*/ 445294 w 504825"/>
              <a:gd name="connsiteY9" fmla="*/ 129350 h 428625"/>
              <a:gd name="connsiteX10" fmla="*/ 445294 w 504825"/>
              <a:gd name="connsiteY10" fmla="*/ 216694 h 428625"/>
              <a:gd name="connsiteX11" fmla="*/ 483394 w 504825"/>
              <a:gd name="connsiteY11" fmla="*/ 216694 h 428625"/>
              <a:gd name="connsiteX12" fmla="*/ 483394 w 504825"/>
              <a:gd name="connsiteY12" fmla="*/ 64294 h 428625"/>
              <a:gd name="connsiteX13" fmla="*/ 330994 w 504825"/>
              <a:gd name="connsiteY13" fmla="*/ 64294 h 428625"/>
              <a:gd name="connsiteX14" fmla="*/ 330994 w 504825"/>
              <a:gd name="connsiteY14" fmla="*/ 102394 h 428625"/>
              <a:gd name="connsiteX15" fmla="*/ 418338 w 504825"/>
              <a:gd name="connsiteY15" fmla="*/ 102394 h 428625"/>
              <a:gd name="connsiteX16" fmla="*/ 292894 w 504825"/>
              <a:gd name="connsiteY16" fmla="*/ 227838 h 428625"/>
              <a:gd name="connsiteX17" fmla="*/ 235744 w 504825"/>
              <a:gd name="connsiteY17" fmla="*/ 170688 h 428625"/>
              <a:gd name="connsiteX18" fmla="*/ 84201 w 504825"/>
              <a:gd name="connsiteY18" fmla="*/ 322326 h 428625"/>
              <a:gd name="connsiteX19" fmla="*/ 111157 w 504825"/>
              <a:gd name="connsiteY19" fmla="*/ 349282 h 428625"/>
              <a:gd name="connsiteX20" fmla="*/ 235744 w 504825"/>
              <a:gd name="connsiteY20" fmla="*/ 22460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4825" h="428625">
                <a:moveTo>
                  <a:pt x="502444" y="388144"/>
                </a:moveTo>
                <a:lnTo>
                  <a:pt x="502444" y="426244"/>
                </a:lnTo>
                <a:lnTo>
                  <a:pt x="7144" y="426244"/>
                </a:lnTo>
                <a:lnTo>
                  <a:pt x="7144" y="7144"/>
                </a:lnTo>
                <a:lnTo>
                  <a:pt x="45244" y="7144"/>
                </a:lnTo>
                <a:lnTo>
                  <a:pt x="45244" y="388144"/>
                </a:lnTo>
                <a:lnTo>
                  <a:pt x="502444" y="388144"/>
                </a:lnTo>
                <a:close/>
                <a:moveTo>
                  <a:pt x="235744" y="224600"/>
                </a:moveTo>
                <a:lnTo>
                  <a:pt x="292894" y="281750"/>
                </a:lnTo>
                <a:lnTo>
                  <a:pt x="445294" y="129350"/>
                </a:lnTo>
                <a:lnTo>
                  <a:pt x="445294" y="216694"/>
                </a:lnTo>
                <a:lnTo>
                  <a:pt x="483394" y="216694"/>
                </a:lnTo>
                <a:lnTo>
                  <a:pt x="483394" y="64294"/>
                </a:lnTo>
                <a:lnTo>
                  <a:pt x="330994" y="64294"/>
                </a:lnTo>
                <a:lnTo>
                  <a:pt x="330994" y="102394"/>
                </a:lnTo>
                <a:lnTo>
                  <a:pt x="418338" y="102394"/>
                </a:lnTo>
                <a:lnTo>
                  <a:pt x="292894" y="227838"/>
                </a:lnTo>
                <a:lnTo>
                  <a:pt x="235744" y="170688"/>
                </a:lnTo>
                <a:lnTo>
                  <a:pt x="84201" y="322326"/>
                </a:lnTo>
                <a:lnTo>
                  <a:pt x="111157" y="349282"/>
                </a:lnTo>
                <a:lnTo>
                  <a:pt x="235744" y="224600"/>
                </a:ln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228E7D30-FF54-4FE9-A60F-663C7CF597BF}"/>
              </a:ext>
            </a:extLst>
          </p:cNvPr>
          <p:cNvSpPr/>
          <p:nvPr/>
        </p:nvSpPr>
        <p:spPr>
          <a:xfrm>
            <a:off x="2067904" y="4573852"/>
            <a:ext cx="563124" cy="470809"/>
          </a:xfrm>
          <a:custGeom>
            <a:avLst/>
            <a:gdLst>
              <a:gd name="connsiteX0" fmla="*/ 537305 w 581025"/>
              <a:gd name="connsiteY0" fmla="*/ 187166 h 485775"/>
              <a:gd name="connsiteX1" fmla="*/ 539401 w 581025"/>
              <a:gd name="connsiteY1" fmla="*/ 167354 h 485775"/>
              <a:gd name="connsiteX2" fmla="*/ 463296 w 581025"/>
              <a:gd name="connsiteY2" fmla="*/ 72295 h 485775"/>
              <a:gd name="connsiteX3" fmla="*/ 371285 w 581025"/>
              <a:gd name="connsiteY3" fmla="*/ 7144 h 485775"/>
              <a:gd name="connsiteX4" fmla="*/ 292894 w 581025"/>
              <a:gd name="connsiteY4" fmla="*/ 46958 h 485775"/>
              <a:gd name="connsiteX5" fmla="*/ 214503 w 581025"/>
              <a:gd name="connsiteY5" fmla="*/ 7144 h 485775"/>
              <a:gd name="connsiteX6" fmla="*/ 122491 w 581025"/>
              <a:gd name="connsiteY6" fmla="*/ 72295 h 485775"/>
              <a:gd name="connsiteX7" fmla="*/ 46387 w 581025"/>
              <a:gd name="connsiteY7" fmla="*/ 167354 h 485775"/>
              <a:gd name="connsiteX8" fmla="*/ 48482 w 581025"/>
              <a:gd name="connsiteY8" fmla="*/ 187166 h 485775"/>
              <a:gd name="connsiteX9" fmla="*/ 7144 w 581025"/>
              <a:gd name="connsiteY9" fmla="*/ 284988 h 485775"/>
              <a:gd name="connsiteX10" fmla="*/ 108395 w 581025"/>
              <a:gd name="connsiteY10" fmla="*/ 416909 h 485775"/>
              <a:gd name="connsiteX11" fmla="*/ 206597 w 581025"/>
              <a:gd name="connsiteY11" fmla="*/ 484442 h 485775"/>
              <a:gd name="connsiteX12" fmla="*/ 292894 w 581025"/>
              <a:gd name="connsiteY12" fmla="*/ 439198 h 485775"/>
              <a:gd name="connsiteX13" fmla="*/ 379095 w 581025"/>
              <a:gd name="connsiteY13" fmla="*/ 484442 h 485775"/>
              <a:gd name="connsiteX14" fmla="*/ 477298 w 581025"/>
              <a:gd name="connsiteY14" fmla="*/ 416909 h 485775"/>
              <a:gd name="connsiteX15" fmla="*/ 578548 w 581025"/>
              <a:gd name="connsiteY15" fmla="*/ 284988 h 485775"/>
              <a:gd name="connsiteX16" fmla="*/ 537305 w 581025"/>
              <a:gd name="connsiteY16" fmla="*/ 187166 h 485775"/>
              <a:gd name="connsiteX17" fmla="*/ 273558 w 581025"/>
              <a:gd name="connsiteY17" fmla="*/ 383762 h 485775"/>
              <a:gd name="connsiteX18" fmla="*/ 206597 w 581025"/>
              <a:gd name="connsiteY18" fmla="*/ 446342 h 485775"/>
              <a:gd name="connsiteX19" fmla="*/ 141637 w 581025"/>
              <a:gd name="connsiteY19" fmla="*/ 395954 h 485775"/>
              <a:gd name="connsiteX20" fmla="*/ 138589 w 581025"/>
              <a:gd name="connsiteY20" fmla="*/ 384143 h 485775"/>
              <a:gd name="connsiteX21" fmla="*/ 126492 w 581025"/>
              <a:gd name="connsiteY21" fmla="*/ 382048 h 485775"/>
              <a:gd name="connsiteX22" fmla="*/ 45244 w 581025"/>
              <a:gd name="connsiteY22" fmla="*/ 285083 h 485775"/>
              <a:gd name="connsiteX23" fmla="*/ 81915 w 581025"/>
              <a:gd name="connsiteY23" fmla="*/ 208407 h 485775"/>
              <a:gd name="connsiteX24" fmla="*/ 92393 w 581025"/>
              <a:gd name="connsiteY24" fmla="*/ 199930 h 485775"/>
              <a:gd name="connsiteX25" fmla="*/ 87916 w 581025"/>
              <a:gd name="connsiteY25" fmla="*/ 187262 h 485775"/>
              <a:gd name="connsiteX26" fmla="*/ 84487 w 581025"/>
              <a:gd name="connsiteY26" fmla="*/ 167450 h 485775"/>
              <a:gd name="connsiteX27" fmla="*/ 139065 w 581025"/>
              <a:gd name="connsiteY27" fmla="*/ 108299 h 485775"/>
              <a:gd name="connsiteX28" fmla="*/ 153448 w 581025"/>
              <a:gd name="connsiteY28" fmla="*/ 107156 h 485775"/>
              <a:gd name="connsiteX29" fmla="*/ 156210 w 581025"/>
              <a:gd name="connsiteY29" fmla="*/ 93059 h 485775"/>
              <a:gd name="connsiteX30" fmla="*/ 214408 w 581025"/>
              <a:gd name="connsiteY30" fmla="*/ 45339 h 485775"/>
              <a:gd name="connsiteX31" fmla="*/ 273844 w 581025"/>
              <a:gd name="connsiteY31" fmla="*/ 104108 h 485775"/>
              <a:gd name="connsiteX32" fmla="*/ 273748 w 581025"/>
              <a:gd name="connsiteY32" fmla="*/ 106394 h 485775"/>
              <a:gd name="connsiteX33" fmla="*/ 273748 w 581025"/>
              <a:gd name="connsiteY33" fmla="*/ 107061 h 485775"/>
              <a:gd name="connsiteX34" fmla="*/ 273748 w 581025"/>
              <a:gd name="connsiteY34" fmla="*/ 108299 h 485775"/>
              <a:gd name="connsiteX35" fmla="*/ 273748 w 581025"/>
              <a:gd name="connsiteY35" fmla="*/ 112967 h 485775"/>
              <a:gd name="connsiteX36" fmla="*/ 273748 w 581025"/>
              <a:gd name="connsiteY36" fmla="*/ 295275 h 485775"/>
              <a:gd name="connsiteX37" fmla="*/ 231553 w 581025"/>
              <a:gd name="connsiteY37" fmla="*/ 280035 h 485775"/>
              <a:gd name="connsiteX38" fmla="*/ 197168 w 581025"/>
              <a:gd name="connsiteY38" fmla="*/ 296513 h 485775"/>
              <a:gd name="connsiteX39" fmla="*/ 260509 w 581025"/>
              <a:gd name="connsiteY39" fmla="*/ 336328 h 485775"/>
              <a:gd name="connsiteX40" fmla="*/ 273748 w 581025"/>
              <a:gd name="connsiteY40" fmla="*/ 334994 h 485775"/>
              <a:gd name="connsiteX41" fmla="*/ 273748 w 581025"/>
              <a:gd name="connsiteY41" fmla="*/ 379190 h 485775"/>
              <a:gd name="connsiteX42" fmla="*/ 273558 w 581025"/>
              <a:gd name="connsiteY42" fmla="*/ 383762 h 485775"/>
              <a:gd name="connsiteX43" fmla="*/ 459296 w 581025"/>
              <a:gd name="connsiteY43" fmla="*/ 381953 h 485775"/>
              <a:gd name="connsiteX44" fmla="*/ 447199 w 581025"/>
              <a:gd name="connsiteY44" fmla="*/ 384048 h 485775"/>
              <a:gd name="connsiteX45" fmla="*/ 444151 w 581025"/>
              <a:gd name="connsiteY45" fmla="*/ 395859 h 485775"/>
              <a:gd name="connsiteX46" fmla="*/ 379190 w 581025"/>
              <a:gd name="connsiteY46" fmla="*/ 446246 h 485775"/>
              <a:gd name="connsiteX47" fmla="*/ 312134 w 581025"/>
              <a:gd name="connsiteY47" fmla="*/ 383191 h 485775"/>
              <a:gd name="connsiteX48" fmla="*/ 311944 w 581025"/>
              <a:gd name="connsiteY48" fmla="*/ 379000 h 485775"/>
              <a:gd name="connsiteX49" fmla="*/ 311944 w 581025"/>
              <a:gd name="connsiteY49" fmla="*/ 112871 h 485775"/>
              <a:gd name="connsiteX50" fmla="*/ 311944 w 581025"/>
              <a:gd name="connsiteY50" fmla="*/ 108204 h 485775"/>
              <a:gd name="connsiteX51" fmla="*/ 311944 w 581025"/>
              <a:gd name="connsiteY51" fmla="*/ 106966 h 485775"/>
              <a:gd name="connsiteX52" fmla="*/ 311944 w 581025"/>
              <a:gd name="connsiteY52" fmla="*/ 105918 h 485775"/>
              <a:gd name="connsiteX53" fmla="*/ 311848 w 581025"/>
              <a:gd name="connsiteY53" fmla="*/ 104584 h 485775"/>
              <a:gd name="connsiteX54" fmla="*/ 371285 w 581025"/>
              <a:gd name="connsiteY54" fmla="*/ 45244 h 485775"/>
              <a:gd name="connsiteX55" fmla="*/ 429482 w 581025"/>
              <a:gd name="connsiteY55" fmla="*/ 92964 h 485775"/>
              <a:gd name="connsiteX56" fmla="*/ 432245 w 581025"/>
              <a:gd name="connsiteY56" fmla="*/ 107061 h 485775"/>
              <a:gd name="connsiteX57" fmla="*/ 446627 w 581025"/>
              <a:gd name="connsiteY57" fmla="*/ 108204 h 485775"/>
              <a:gd name="connsiteX58" fmla="*/ 501205 w 581025"/>
              <a:gd name="connsiteY58" fmla="*/ 167354 h 485775"/>
              <a:gd name="connsiteX59" fmla="*/ 497777 w 581025"/>
              <a:gd name="connsiteY59" fmla="*/ 187166 h 485775"/>
              <a:gd name="connsiteX60" fmla="*/ 493300 w 581025"/>
              <a:gd name="connsiteY60" fmla="*/ 199835 h 485775"/>
              <a:gd name="connsiteX61" fmla="*/ 503777 w 581025"/>
              <a:gd name="connsiteY61" fmla="*/ 208312 h 485775"/>
              <a:gd name="connsiteX62" fmla="*/ 540448 w 581025"/>
              <a:gd name="connsiteY62" fmla="*/ 284988 h 485775"/>
              <a:gd name="connsiteX63" fmla="*/ 459296 w 581025"/>
              <a:gd name="connsiteY63" fmla="*/ 381953 h 485775"/>
              <a:gd name="connsiteX64" fmla="*/ 363760 w 581025"/>
              <a:gd name="connsiteY64" fmla="*/ 147447 h 485775"/>
              <a:gd name="connsiteX65" fmla="*/ 399860 w 581025"/>
              <a:gd name="connsiteY65" fmla="*/ 159639 h 485775"/>
              <a:gd name="connsiteX66" fmla="*/ 419862 w 581025"/>
              <a:gd name="connsiteY66" fmla="*/ 200216 h 485775"/>
              <a:gd name="connsiteX67" fmla="*/ 407575 w 581025"/>
              <a:gd name="connsiteY67" fmla="*/ 236315 h 485775"/>
              <a:gd name="connsiteX68" fmla="*/ 363760 w 581025"/>
              <a:gd name="connsiteY68" fmla="*/ 147447 h 485775"/>
              <a:gd name="connsiteX69" fmla="*/ 447104 w 581025"/>
              <a:gd name="connsiteY69" fmla="*/ 324041 h 485775"/>
              <a:gd name="connsiteX70" fmla="*/ 410051 w 581025"/>
              <a:gd name="connsiteY70" fmla="*/ 332994 h 485775"/>
              <a:gd name="connsiteX71" fmla="*/ 371380 w 581025"/>
              <a:gd name="connsiteY71" fmla="*/ 309467 h 485775"/>
              <a:gd name="connsiteX72" fmla="*/ 362426 w 581025"/>
              <a:gd name="connsiteY72" fmla="*/ 272415 h 485775"/>
              <a:gd name="connsiteX73" fmla="*/ 415480 w 581025"/>
              <a:gd name="connsiteY73" fmla="*/ 280702 h 485775"/>
              <a:gd name="connsiteX74" fmla="*/ 447104 w 581025"/>
              <a:gd name="connsiteY74" fmla="*/ 324041 h 485775"/>
              <a:gd name="connsiteX75" fmla="*/ 215932 w 581025"/>
              <a:gd name="connsiteY75" fmla="*/ 236887 h 485775"/>
              <a:gd name="connsiteX76" fmla="*/ 178879 w 581025"/>
              <a:gd name="connsiteY76" fmla="*/ 245650 h 485775"/>
              <a:gd name="connsiteX77" fmla="*/ 131731 w 581025"/>
              <a:gd name="connsiteY77" fmla="*/ 216599 h 485775"/>
              <a:gd name="connsiteX78" fmla="*/ 122968 w 581025"/>
              <a:gd name="connsiteY78" fmla="*/ 179546 h 485775"/>
              <a:gd name="connsiteX79" fmla="*/ 215932 w 581025"/>
              <a:gd name="connsiteY79" fmla="*/ 236887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81025" h="485775">
                <a:moveTo>
                  <a:pt x="537305" y="187166"/>
                </a:moveTo>
                <a:cubicBezTo>
                  <a:pt x="538639" y="180594"/>
                  <a:pt x="539401" y="174022"/>
                  <a:pt x="539401" y="167354"/>
                </a:cubicBezTo>
                <a:cubicBezTo>
                  <a:pt x="539401" y="121539"/>
                  <a:pt x="506921" y="82201"/>
                  <a:pt x="463296" y="72295"/>
                </a:cubicBezTo>
                <a:cubicBezTo>
                  <a:pt x="449771" y="33909"/>
                  <a:pt x="413099" y="7144"/>
                  <a:pt x="371285" y="7144"/>
                </a:cubicBezTo>
                <a:cubicBezTo>
                  <a:pt x="339090" y="7144"/>
                  <a:pt x="310610" y="22860"/>
                  <a:pt x="292894" y="46958"/>
                </a:cubicBezTo>
                <a:cubicBezTo>
                  <a:pt x="275082" y="22860"/>
                  <a:pt x="246602" y="7144"/>
                  <a:pt x="214503" y="7144"/>
                </a:cubicBezTo>
                <a:cubicBezTo>
                  <a:pt x="172784" y="7144"/>
                  <a:pt x="136017" y="33909"/>
                  <a:pt x="122491" y="72295"/>
                </a:cubicBezTo>
                <a:cubicBezTo>
                  <a:pt x="78867" y="82201"/>
                  <a:pt x="46387" y="121539"/>
                  <a:pt x="46387" y="167354"/>
                </a:cubicBezTo>
                <a:cubicBezTo>
                  <a:pt x="46387" y="174022"/>
                  <a:pt x="47054" y="180594"/>
                  <a:pt x="48482" y="187166"/>
                </a:cubicBezTo>
                <a:cubicBezTo>
                  <a:pt x="22098" y="212789"/>
                  <a:pt x="7144" y="247841"/>
                  <a:pt x="7144" y="284988"/>
                </a:cubicBezTo>
                <a:cubicBezTo>
                  <a:pt x="7144" y="347377"/>
                  <a:pt x="49054" y="401098"/>
                  <a:pt x="108395" y="416909"/>
                </a:cubicBezTo>
                <a:cubicBezTo>
                  <a:pt x="123825" y="457200"/>
                  <a:pt x="162687" y="484442"/>
                  <a:pt x="206597" y="484442"/>
                </a:cubicBezTo>
                <a:cubicBezTo>
                  <a:pt x="242126" y="484442"/>
                  <a:pt x="273844" y="466535"/>
                  <a:pt x="292894" y="439198"/>
                </a:cubicBezTo>
                <a:cubicBezTo>
                  <a:pt x="312039" y="466535"/>
                  <a:pt x="343662" y="484442"/>
                  <a:pt x="379095" y="484442"/>
                </a:cubicBezTo>
                <a:cubicBezTo>
                  <a:pt x="423005" y="484442"/>
                  <a:pt x="461867" y="457200"/>
                  <a:pt x="477298" y="416909"/>
                </a:cubicBezTo>
                <a:cubicBezTo>
                  <a:pt x="536638" y="401098"/>
                  <a:pt x="578548" y="347377"/>
                  <a:pt x="578548" y="284988"/>
                </a:cubicBezTo>
                <a:cubicBezTo>
                  <a:pt x="578644" y="247841"/>
                  <a:pt x="563689" y="212884"/>
                  <a:pt x="537305" y="187166"/>
                </a:cubicBezTo>
                <a:close/>
                <a:moveTo>
                  <a:pt x="273558" y="383762"/>
                </a:moveTo>
                <a:cubicBezTo>
                  <a:pt x="271177" y="418814"/>
                  <a:pt x="241745" y="446342"/>
                  <a:pt x="206597" y="446342"/>
                </a:cubicBezTo>
                <a:cubicBezTo>
                  <a:pt x="176022" y="446342"/>
                  <a:pt x="149257" y="425577"/>
                  <a:pt x="141637" y="395954"/>
                </a:cubicBezTo>
                <a:lnTo>
                  <a:pt x="138589" y="384143"/>
                </a:lnTo>
                <a:lnTo>
                  <a:pt x="126492" y="382048"/>
                </a:lnTo>
                <a:cubicBezTo>
                  <a:pt x="79438" y="373666"/>
                  <a:pt x="45244" y="332899"/>
                  <a:pt x="45244" y="285083"/>
                </a:cubicBezTo>
                <a:cubicBezTo>
                  <a:pt x="45244" y="255175"/>
                  <a:pt x="58579" y="227267"/>
                  <a:pt x="81915" y="208407"/>
                </a:cubicBezTo>
                <a:lnTo>
                  <a:pt x="92393" y="199930"/>
                </a:lnTo>
                <a:lnTo>
                  <a:pt x="87916" y="187262"/>
                </a:lnTo>
                <a:cubicBezTo>
                  <a:pt x="85630" y="180785"/>
                  <a:pt x="84487" y="174117"/>
                  <a:pt x="84487" y="167450"/>
                </a:cubicBezTo>
                <a:cubicBezTo>
                  <a:pt x="84487" y="136779"/>
                  <a:pt x="108490" y="110776"/>
                  <a:pt x="139065" y="108299"/>
                </a:cubicBezTo>
                <a:lnTo>
                  <a:pt x="153448" y="107156"/>
                </a:lnTo>
                <a:lnTo>
                  <a:pt x="156210" y="93059"/>
                </a:lnTo>
                <a:cubicBezTo>
                  <a:pt x="161735" y="65437"/>
                  <a:pt x="186214" y="45339"/>
                  <a:pt x="214408" y="45339"/>
                </a:cubicBezTo>
                <a:cubicBezTo>
                  <a:pt x="247174" y="45339"/>
                  <a:pt x="273748" y="72009"/>
                  <a:pt x="273844" y="104108"/>
                </a:cubicBezTo>
                <a:lnTo>
                  <a:pt x="273748" y="106394"/>
                </a:lnTo>
                <a:lnTo>
                  <a:pt x="273748" y="107061"/>
                </a:lnTo>
                <a:cubicBezTo>
                  <a:pt x="273748" y="107537"/>
                  <a:pt x="273748" y="107918"/>
                  <a:pt x="273748" y="108299"/>
                </a:cubicBezTo>
                <a:cubicBezTo>
                  <a:pt x="273748" y="110395"/>
                  <a:pt x="273748" y="112109"/>
                  <a:pt x="273748" y="112967"/>
                </a:cubicBezTo>
                <a:lnTo>
                  <a:pt x="273748" y="295275"/>
                </a:lnTo>
                <a:cubicBezTo>
                  <a:pt x="257937" y="302609"/>
                  <a:pt x="239078" y="295847"/>
                  <a:pt x="231553" y="280035"/>
                </a:cubicBezTo>
                <a:lnTo>
                  <a:pt x="197168" y="296513"/>
                </a:lnTo>
                <a:cubicBezTo>
                  <a:pt x="209169" y="321659"/>
                  <a:pt x="234315" y="336328"/>
                  <a:pt x="260509" y="336328"/>
                </a:cubicBezTo>
                <a:cubicBezTo>
                  <a:pt x="264890" y="336328"/>
                  <a:pt x="269367" y="335851"/>
                  <a:pt x="273748" y="334994"/>
                </a:cubicBezTo>
                <a:lnTo>
                  <a:pt x="273748" y="379190"/>
                </a:lnTo>
                <a:cubicBezTo>
                  <a:pt x="273844" y="380619"/>
                  <a:pt x="273748" y="381953"/>
                  <a:pt x="273558" y="383762"/>
                </a:cubicBezTo>
                <a:close/>
                <a:moveTo>
                  <a:pt x="459296" y="381953"/>
                </a:moveTo>
                <a:lnTo>
                  <a:pt x="447199" y="384048"/>
                </a:lnTo>
                <a:lnTo>
                  <a:pt x="444151" y="395859"/>
                </a:lnTo>
                <a:cubicBezTo>
                  <a:pt x="436531" y="425482"/>
                  <a:pt x="409765" y="446246"/>
                  <a:pt x="379190" y="446246"/>
                </a:cubicBezTo>
                <a:cubicBezTo>
                  <a:pt x="344043" y="446246"/>
                  <a:pt x="314611" y="418719"/>
                  <a:pt x="312134" y="383191"/>
                </a:cubicBezTo>
                <a:cubicBezTo>
                  <a:pt x="312039" y="381857"/>
                  <a:pt x="311944" y="380524"/>
                  <a:pt x="311944" y="379000"/>
                </a:cubicBezTo>
                <a:lnTo>
                  <a:pt x="311944" y="112871"/>
                </a:lnTo>
                <a:cubicBezTo>
                  <a:pt x="311944" y="112109"/>
                  <a:pt x="311944" y="110300"/>
                  <a:pt x="311944" y="108204"/>
                </a:cubicBezTo>
                <a:cubicBezTo>
                  <a:pt x="311944" y="107728"/>
                  <a:pt x="311944" y="107442"/>
                  <a:pt x="311944" y="106966"/>
                </a:cubicBezTo>
                <a:lnTo>
                  <a:pt x="311944" y="105918"/>
                </a:lnTo>
                <a:cubicBezTo>
                  <a:pt x="311944" y="105251"/>
                  <a:pt x="311944" y="104584"/>
                  <a:pt x="311848" y="104584"/>
                </a:cubicBezTo>
                <a:cubicBezTo>
                  <a:pt x="311944" y="71914"/>
                  <a:pt x="338614" y="45244"/>
                  <a:pt x="371285" y="45244"/>
                </a:cubicBezTo>
                <a:cubicBezTo>
                  <a:pt x="399479" y="45244"/>
                  <a:pt x="424053" y="65342"/>
                  <a:pt x="429482" y="92964"/>
                </a:cubicBezTo>
                <a:lnTo>
                  <a:pt x="432245" y="107061"/>
                </a:lnTo>
                <a:lnTo>
                  <a:pt x="446627" y="108204"/>
                </a:lnTo>
                <a:cubicBezTo>
                  <a:pt x="477203" y="110681"/>
                  <a:pt x="501205" y="136589"/>
                  <a:pt x="501205" y="167354"/>
                </a:cubicBezTo>
                <a:cubicBezTo>
                  <a:pt x="501205" y="174022"/>
                  <a:pt x="500063" y="180689"/>
                  <a:pt x="497777" y="187166"/>
                </a:cubicBezTo>
                <a:lnTo>
                  <a:pt x="493300" y="199835"/>
                </a:lnTo>
                <a:lnTo>
                  <a:pt x="503777" y="208312"/>
                </a:lnTo>
                <a:cubicBezTo>
                  <a:pt x="527113" y="227171"/>
                  <a:pt x="540448" y="255080"/>
                  <a:pt x="540448" y="284988"/>
                </a:cubicBezTo>
                <a:cubicBezTo>
                  <a:pt x="540544" y="332804"/>
                  <a:pt x="506349" y="373666"/>
                  <a:pt x="459296" y="381953"/>
                </a:cubicBezTo>
                <a:close/>
                <a:moveTo>
                  <a:pt x="363760" y="147447"/>
                </a:moveTo>
                <a:lnTo>
                  <a:pt x="399860" y="159639"/>
                </a:lnTo>
                <a:cubicBezTo>
                  <a:pt x="394240" y="176308"/>
                  <a:pt x="403193" y="194596"/>
                  <a:pt x="419862" y="200216"/>
                </a:cubicBezTo>
                <a:lnTo>
                  <a:pt x="407575" y="236315"/>
                </a:lnTo>
                <a:cubicBezTo>
                  <a:pt x="371094" y="223933"/>
                  <a:pt x="351377" y="184023"/>
                  <a:pt x="363760" y="147447"/>
                </a:cubicBezTo>
                <a:close/>
                <a:moveTo>
                  <a:pt x="447104" y="324041"/>
                </a:moveTo>
                <a:lnTo>
                  <a:pt x="410051" y="332994"/>
                </a:lnTo>
                <a:cubicBezTo>
                  <a:pt x="405860" y="315849"/>
                  <a:pt x="388525" y="305372"/>
                  <a:pt x="371380" y="309467"/>
                </a:cubicBezTo>
                <a:lnTo>
                  <a:pt x="362426" y="272415"/>
                </a:lnTo>
                <a:cubicBezTo>
                  <a:pt x="380619" y="268034"/>
                  <a:pt x="399479" y="270986"/>
                  <a:pt x="415480" y="280702"/>
                </a:cubicBezTo>
                <a:cubicBezTo>
                  <a:pt x="431482" y="290513"/>
                  <a:pt x="442722" y="305848"/>
                  <a:pt x="447104" y="324041"/>
                </a:cubicBezTo>
                <a:close/>
                <a:moveTo>
                  <a:pt x="215932" y="236887"/>
                </a:moveTo>
                <a:lnTo>
                  <a:pt x="178879" y="245650"/>
                </a:lnTo>
                <a:cubicBezTo>
                  <a:pt x="173927" y="224600"/>
                  <a:pt x="152686" y="211550"/>
                  <a:pt x="131731" y="216599"/>
                </a:cubicBezTo>
                <a:lnTo>
                  <a:pt x="122968" y="179546"/>
                </a:lnTo>
                <a:cubicBezTo>
                  <a:pt x="164402" y="169736"/>
                  <a:pt x="206121" y="195453"/>
                  <a:pt x="215932" y="236887"/>
                </a:cubicBezTo>
                <a:close/>
              </a:path>
            </a:pathLst>
          </a:custGeom>
          <a:solidFill>
            <a:srgbClr val="6F787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30D22B3E-E8C5-4D1A-991B-163B746BA026}"/>
              </a:ext>
            </a:extLst>
          </p:cNvPr>
          <p:cNvSpPr/>
          <p:nvPr/>
        </p:nvSpPr>
        <p:spPr>
          <a:xfrm>
            <a:off x="10064475" y="4546157"/>
            <a:ext cx="526198" cy="526198"/>
          </a:xfrm>
          <a:custGeom>
            <a:avLst/>
            <a:gdLst>
              <a:gd name="connsiteX0" fmla="*/ 462415 w 542925"/>
              <a:gd name="connsiteY0" fmla="*/ 85249 h 542925"/>
              <a:gd name="connsiteX1" fmla="*/ 273820 w 542925"/>
              <a:gd name="connsiteY1" fmla="*/ 7144 h 542925"/>
              <a:gd name="connsiteX2" fmla="*/ 85225 w 542925"/>
              <a:gd name="connsiteY2" fmla="*/ 85249 h 542925"/>
              <a:gd name="connsiteX3" fmla="*/ 85225 w 542925"/>
              <a:gd name="connsiteY3" fmla="*/ 462439 h 542925"/>
              <a:gd name="connsiteX4" fmla="*/ 273820 w 542925"/>
              <a:gd name="connsiteY4" fmla="*/ 540544 h 542925"/>
              <a:gd name="connsiteX5" fmla="*/ 462415 w 542925"/>
              <a:gd name="connsiteY5" fmla="*/ 462439 h 542925"/>
              <a:gd name="connsiteX6" fmla="*/ 462415 w 542925"/>
              <a:gd name="connsiteY6" fmla="*/ 85249 h 542925"/>
              <a:gd name="connsiteX7" fmla="*/ 112181 w 542925"/>
              <a:gd name="connsiteY7" fmla="*/ 112205 h 542925"/>
              <a:gd name="connsiteX8" fmla="*/ 143423 w 542925"/>
              <a:gd name="connsiteY8" fmla="*/ 86106 h 542925"/>
              <a:gd name="connsiteX9" fmla="*/ 250007 w 542925"/>
              <a:gd name="connsiteY9" fmla="*/ 270701 h 542925"/>
              <a:gd name="connsiteX10" fmla="*/ 99417 w 542925"/>
              <a:gd name="connsiteY10" fmla="*/ 421291 h 542925"/>
              <a:gd name="connsiteX11" fmla="*/ 112181 w 542925"/>
              <a:gd name="connsiteY11" fmla="*/ 112205 h 542925"/>
              <a:gd name="connsiteX12" fmla="*/ 254770 w 542925"/>
              <a:gd name="connsiteY12" fmla="*/ 501587 h 542925"/>
              <a:gd name="connsiteX13" fmla="*/ 126278 w 542925"/>
              <a:gd name="connsiteY13" fmla="*/ 448342 h 542925"/>
              <a:gd name="connsiteX14" fmla="*/ 254770 w 542925"/>
              <a:gd name="connsiteY14" fmla="*/ 319850 h 542925"/>
              <a:gd name="connsiteX15" fmla="*/ 254770 w 542925"/>
              <a:gd name="connsiteY15" fmla="*/ 501587 h 542925"/>
              <a:gd name="connsiteX16" fmla="*/ 435459 w 542925"/>
              <a:gd name="connsiteY16" fmla="*/ 435483 h 542925"/>
              <a:gd name="connsiteX17" fmla="*/ 292870 w 542925"/>
              <a:gd name="connsiteY17" fmla="*/ 501587 h 542925"/>
              <a:gd name="connsiteX18" fmla="*/ 292870 w 542925"/>
              <a:gd name="connsiteY18" fmla="*/ 268700 h 542925"/>
              <a:gd name="connsiteX19" fmla="*/ 176284 w 542925"/>
              <a:gd name="connsiteY19" fmla="*/ 66961 h 542925"/>
              <a:gd name="connsiteX20" fmla="*/ 273820 w 542925"/>
              <a:gd name="connsiteY20" fmla="*/ 45244 h 542925"/>
              <a:gd name="connsiteX21" fmla="*/ 435459 w 542925"/>
              <a:gd name="connsiteY21" fmla="*/ 112205 h 542925"/>
              <a:gd name="connsiteX22" fmla="*/ 435459 w 542925"/>
              <a:gd name="connsiteY22" fmla="*/ 435483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42925" h="542925">
                <a:moveTo>
                  <a:pt x="462415" y="85249"/>
                </a:moveTo>
                <a:cubicBezTo>
                  <a:pt x="410313" y="33147"/>
                  <a:pt x="342114" y="7144"/>
                  <a:pt x="273820" y="7144"/>
                </a:cubicBezTo>
                <a:cubicBezTo>
                  <a:pt x="205526" y="7144"/>
                  <a:pt x="137327" y="33147"/>
                  <a:pt x="85225" y="85249"/>
                </a:cubicBezTo>
                <a:cubicBezTo>
                  <a:pt x="-18883" y="189357"/>
                  <a:pt x="-18883" y="358235"/>
                  <a:pt x="85225" y="462439"/>
                </a:cubicBezTo>
                <a:cubicBezTo>
                  <a:pt x="137327" y="514541"/>
                  <a:pt x="205526" y="540544"/>
                  <a:pt x="273820" y="540544"/>
                </a:cubicBezTo>
                <a:cubicBezTo>
                  <a:pt x="342114" y="540544"/>
                  <a:pt x="410313" y="514541"/>
                  <a:pt x="462415" y="462439"/>
                </a:cubicBezTo>
                <a:cubicBezTo>
                  <a:pt x="566523" y="358235"/>
                  <a:pt x="566523" y="189452"/>
                  <a:pt x="462415" y="85249"/>
                </a:cubicBezTo>
                <a:close/>
                <a:moveTo>
                  <a:pt x="112181" y="112205"/>
                </a:moveTo>
                <a:cubicBezTo>
                  <a:pt x="121896" y="102489"/>
                  <a:pt x="132374" y="93821"/>
                  <a:pt x="143423" y="86106"/>
                </a:cubicBezTo>
                <a:lnTo>
                  <a:pt x="250007" y="270701"/>
                </a:lnTo>
                <a:lnTo>
                  <a:pt x="99417" y="421291"/>
                </a:lnTo>
                <a:cubicBezTo>
                  <a:pt x="23408" y="331661"/>
                  <a:pt x="27599" y="196787"/>
                  <a:pt x="112181" y="112205"/>
                </a:cubicBezTo>
                <a:close/>
                <a:moveTo>
                  <a:pt x="254770" y="501587"/>
                </a:moveTo>
                <a:cubicBezTo>
                  <a:pt x="207240" y="497681"/>
                  <a:pt x="162663" y="479203"/>
                  <a:pt x="126278" y="448342"/>
                </a:cubicBezTo>
                <a:lnTo>
                  <a:pt x="254770" y="319850"/>
                </a:lnTo>
                <a:lnTo>
                  <a:pt x="254770" y="501587"/>
                </a:lnTo>
                <a:close/>
                <a:moveTo>
                  <a:pt x="435459" y="435483"/>
                </a:moveTo>
                <a:cubicBezTo>
                  <a:pt x="396788" y="474155"/>
                  <a:pt x="346782" y="497205"/>
                  <a:pt x="292870" y="501587"/>
                </a:cubicBezTo>
                <a:lnTo>
                  <a:pt x="292870" y="268700"/>
                </a:lnTo>
                <a:lnTo>
                  <a:pt x="176284" y="66961"/>
                </a:lnTo>
                <a:cubicBezTo>
                  <a:pt x="206383" y="52769"/>
                  <a:pt x="239530" y="45244"/>
                  <a:pt x="273820" y="45244"/>
                </a:cubicBezTo>
                <a:cubicBezTo>
                  <a:pt x="334875" y="45244"/>
                  <a:pt x="392311" y="69056"/>
                  <a:pt x="435459" y="112205"/>
                </a:cubicBezTo>
                <a:cubicBezTo>
                  <a:pt x="524613" y="201359"/>
                  <a:pt x="524613" y="346329"/>
                  <a:pt x="435459" y="435483"/>
                </a:cubicBez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DB7CE8CC-01FA-4DF4-8230-CABE3DB221BF}"/>
              </a:ext>
            </a:extLst>
          </p:cNvPr>
          <p:cNvSpPr/>
          <p:nvPr/>
        </p:nvSpPr>
        <p:spPr>
          <a:xfrm>
            <a:off x="5829406" y="4587699"/>
            <a:ext cx="489272" cy="443115"/>
          </a:xfrm>
          <a:custGeom>
            <a:avLst/>
            <a:gdLst>
              <a:gd name="connsiteX0" fmla="*/ 272701 w 504825"/>
              <a:gd name="connsiteY0" fmla="*/ 204978 h 457200"/>
              <a:gd name="connsiteX1" fmla="*/ 299275 w 504825"/>
              <a:gd name="connsiteY1" fmla="*/ 194024 h 457200"/>
              <a:gd name="connsiteX2" fmla="*/ 320992 w 504825"/>
              <a:gd name="connsiteY2" fmla="*/ 215741 h 457200"/>
              <a:gd name="connsiteX3" fmla="*/ 347948 w 504825"/>
              <a:gd name="connsiteY3" fmla="*/ 188786 h 457200"/>
              <a:gd name="connsiteX4" fmla="*/ 326231 w 504825"/>
              <a:gd name="connsiteY4" fmla="*/ 167069 h 457200"/>
              <a:gd name="connsiteX5" fmla="*/ 337185 w 504825"/>
              <a:gd name="connsiteY5" fmla="*/ 140494 h 457200"/>
              <a:gd name="connsiteX6" fmla="*/ 367951 w 504825"/>
              <a:gd name="connsiteY6" fmla="*/ 140494 h 457200"/>
              <a:gd name="connsiteX7" fmla="*/ 367951 w 504825"/>
              <a:gd name="connsiteY7" fmla="*/ 102394 h 457200"/>
              <a:gd name="connsiteX8" fmla="*/ 337185 w 504825"/>
              <a:gd name="connsiteY8" fmla="*/ 102394 h 457200"/>
              <a:gd name="connsiteX9" fmla="*/ 326231 w 504825"/>
              <a:gd name="connsiteY9" fmla="*/ 75819 h 457200"/>
              <a:gd name="connsiteX10" fmla="*/ 347948 w 504825"/>
              <a:gd name="connsiteY10" fmla="*/ 54102 h 457200"/>
              <a:gd name="connsiteX11" fmla="*/ 320992 w 504825"/>
              <a:gd name="connsiteY11" fmla="*/ 27146 h 457200"/>
              <a:gd name="connsiteX12" fmla="*/ 299275 w 504825"/>
              <a:gd name="connsiteY12" fmla="*/ 48863 h 457200"/>
              <a:gd name="connsiteX13" fmla="*/ 272701 w 504825"/>
              <a:gd name="connsiteY13" fmla="*/ 37910 h 457200"/>
              <a:gd name="connsiteX14" fmla="*/ 272701 w 504825"/>
              <a:gd name="connsiteY14" fmla="*/ 7144 h 457200"/>
              <a:gd name="connsiteX15" fmla="*/ 234601 w 504825"/>
              <a:gd name="connsiteY15" fmla="*/ 7144 h 457200"/>
              <a:gd name="connsiteX16" fmla="*/ 234601 w 504825"/>
              <a:gd name="connsiteY16" fmla="*/ 37910 h 457200"/>
              <a:gd name="connsiteX17" fmla="*/ 208026 w 504825"/>
              <a:gd name="connsiteY17" fmla="*/ 48863 h 457200"/>
              <a:gd name="connsiteX18" fmla="*/ 186309 w 504825"/>
              <a:gd name="connsiteY18" fmla="*/ 27146 h 457200"/>
              <a:gd name="connsiteX19" fmla="*/ 159353 w 504825"/>
              <a:gd name="connsiteY19" fmla="*/ 54102 h 457200"/>
              <a:gd name="connsiteX20" fmla="*/ 181070 w 504825"/>
              <a:gd name="connsiteY20" fmla="*/ 75819 h 457200"/>
              <a:gd name="connsiteX21" fmla="*/ 170117 w 504825"/>
              <a:gd name="connsiteY21" fmla="*/ 102394 h 457200"/>
              <a:gd name="connsiteX22" fmla="*/ 139351 w 504825"/>
              <a:gd name="connsiteY22" fmla="*/ 102394 h 457200"/>
              <a:gd name="connsiteX23" fmla="*/ 139351 w 504825"/>
              <a:gd name="connsiteY23" fmla="*/ 140494 h 457200"/>
              <a:gd name="connsiteX24" fmla="*/ 170117 w 504825"/>
              <a:gd name="connsiteY24" fmla="*/ 140494 h 457200"/>
              <a:gd name="connsiteX25" fmla="*/ 181070 w 504825"/>
              <a:gd name="connsiteY25" fmla="*/ 167069 h 457200"/>
              <a:gd name="connsiteX26" fmla="*/ 159353 w 504825"/>
              <a:gd name="connsiteY26" fmla="*/ 188786 h 457200"/>
              <a:gd name="connsiteX27" fmla="*/ 186309 w 504825"/>
              <a:gd name="connsiteY27" fmla="*/ 215741 h 457200"/>
              <a:gd name="connsiteX28" fmla="*/ 208026 w 504825"/>
              <a:gd name="connsiteY28" fmla="*/ 194024 h 457200"/>
              <a:gd name="connsiteX29" fmla="*/ 234601 w 504825"/>
              <a:gd name="connsiteY29" fmla="*/ 204978 h 457200"/>
              <a:gd name="connsiteX30" fmla="*/ 234601 w 504825"/>
              <a:gd name="connsiteY30" fmla="*/ 235744 h 457200"/>
              <a:gd name="connsiteX31" fmla="*/ 272701 w 504825"/>
              <a:gd name="connsiteY31" fmla="*/ 235744 h 457200"/>
              <a:gd name="connsiteX32" fmla="*/ 272701 w 504825"/>
              <a:gd name="connsiteY32" fmla="*/ 204978 h 457200"/>
              <a:gd name="connsiteX33" fmla="*/ 219932 w 504825"/>
              <a:gd name="connsiteY33" fmla="*/ 87821 h 457200"/>
              <a:gd name="connsiteX34" fmla="*/ 253651 w 504825"/>
              <a:gd name="connsiteY34" fmla="*/ 73914 h 457200"/>
              <a:gd name="connsiteX35" fmla="*/ 287369 w 504825"/>
              <a:gd name="connsiteY35" fmla="*/ 87821 h 457200"/>
              <a:gd name="connsiteX36" fmla="*/ 287369 w 504825"/>
              <a:gd name="connsiteY36" fmla="*/ 155162 h 457200"/>
              <a:gd name="connsiteX37" fmla="*/ 253651 w 504825"/>
              <a:gd name="connsiteY37" fmla="*/ 169069 h 457200"/>
              <a:gd name="connsiteX38" fmla="*/ 219932 w 504825"/>
              <a:gd name="connsiteY38" fmla="*/ 155162 h 457200"/>
              <a:gd name="connsiteX39" fmla="*/ 219932 w 504825"/>
              <a:gd name="connsiteY39" fmla="*/ 87821 h 457200"/>
              <a:gd name="connsiteX40" fmla="*/ 194024 w 504825"/>
              <a:gd name="connsiteY40" fmla="*/ 294894 h 457200"/>
              <a:gd name="connsiteX41" fmla="*/ 215741 w 504825"/>
              <a:gd name="connsiteY41" fmla="*/ 273177 h 457200"/>
              <a:gd name="connsiteX42" fmla="*/ 188786 w 504825"/>
              <a:gd name="connsiteY42" fmla="*/ 246221 h 457200"/>
              <a:gd name="connsiteX43" fmla="*/ 167069 w 504825"/>
              <a:gd name="connsiteY43" fmla="*/ 267938 h 457200"/>
              <a:gd name="connsiteX44" fmla="*/ 140494 w 504825"/>
              <a:gd name="connsiteY44" fmla="*/ 256985 h 457200"/>
              <a:gd name="connsiteX45" fmla="*/ 140494 w 504825"/>
              <a:gd name="connsiteY45" fmla="*/ 226219 h 457200"/>
              <a:gd name="connsiteX46" fmla="*/ 102394 w 504825"/>
              <a:gd name="connsiteY46" fmla="*/ 226219 h 457200"/>
              <a:gd name="connsiteX47" fmla="*/ 102394 w 504825"/>
              <a:gd name="connsiteY47" fmla="*/ 256985 h 457200"/>
              <a:gd name="connsiteX48" fmla="*/ 75819 w 504825"/>
              <a:gd name="connsiteY48" fmla="*/ 267938 h 457200"/>
              <a:gd name="connsiteX49" fmla="*/ 54102 w 504825"/>
              <a:gd name="connsiteY49" fmla="*/ 246221 h 457200"/>
              <a:gd name="connsiteX50" fmla="*/ 27146 w 504825"/>
              <a:gd name="connsiteY50" fmla="*/ 273177 h 457200"/>
              <a:gd name="connsiteX51" fmla="*/ 48863 w 504825"/>
              <a:gd name="connsiteY51" fmla="*/ 294894 h 457200"/>
              <a:gd name="connsiteX52" fmla="*/ 37910 w 504825"/>
              <a:gd name="connsiteY52" fmla="*/ 321469 h 457200"/>
              <a:gd name="connsiteX53" fmla="*/ 7144 w 504825"/>
              <a:gd name="connsiteY53" fmla="*/ 321469 h 457200"/>
              <a:gd name="connsiteX54" fmla="*/ 7144 w 504825"/>
              <a:gd name="connsiteY54" fmla="*/ 359569 h 457200"/>
              <a:gd name="connsiteX55" fmla="*/ 37910 w 504825"/>
              <a:gd name="connsiteY55" fmla="*/ 359569 h 457200"/>
              <a:gd name="connsiteX56" fmla="*/ 48863 w 504825"/>
              <a:gd name="connsiteY56" fmla="*/ 386144 h 457200"/>
              <a:gd name="connsiteX57" fmla="*/ 27146 w 504825"/>
              <a:gd name="connsiteY57" fmla="*/ 407861 h 457200"/>
              <a:gd name="connsiteX58" fmla="*/ 54102 w 504825"/>
              <a:gd name="connsiteY58" fmla="*/ 434816 h 457200"/>
              <a:gd name="connsiteX59" fmla="*/ 75819 w 504825"/>
              <a:gd name="connsiteY59" fmla="*/ 413099 h 457200"/>
              <a:gd name="connsiteX60" fmla="*/ 102394 w 504825"/>
              <a:gd name="connsiteY60" fmla="*/ 424053 h 457200"/>
              <a:gd name="connsiteX61" fmla="*/ 102394 w 504825"/>
              <a:gd name="connsiteY61" fmla="*/ 454819 h 457200"/>
              <a:gd name="connsiteX62" fmla="*/ 140494 w 504825"/>
              <a:gd name="connsiteY62" fmla="*/ 454819 h 457200"/>
              <a:gd name="connsiteX63" fmla="*/ 140494 w 504825"/>
              <a:gd name="connsiteY63" fmla="*/ 424053 h 457200"/>
              <a:gd name="connsiteX64" fmla="*/ 167069 w 504825"/>
              <a:gd name="connsiteY64" fmla="*/ 413099 h 457200"/>
              <a:gd name="connsiteX65" fmla="*/ 188786 w 504825"/>
              <a:gd name="connsiteY65" fmla="*/ 434816 h 457200"/>
              <a:gd name="connsiteX66" fmla="*/ 215741 w 504825"/>
              <a:gd name="connsiteY66" fmla="*/ 407861 h 457200"/>
              <a:gd name="connsiteX67" fmla="*/ 194024 w 504825"/>
              <a:gd name="connsiteY67" fmla="*/ 386144 h 457200"/>
              <a:gd name="connsiteX68" fmla="*/ 204978 w 504825"/>
              <a:gd name="connsiteY68" fmla="*/ 359569 h 457200"/>
              <a:gd name="connsiteX69" fmla="*/ 235744 w 504825"/>
              <a:gd name="connsiteY69" fmla="*/ 359569 h 457200"/>
              <a:gd name="connsiteX70" fmla="*/ 235744 w 504825"/>
              <a:gd name="connsiteY70" fmla="*/ 321469 h 457200"/>
              <a:gd name="connsiteX71" fmla="*/ 204978 w 504825"/>
              <a:gd name="connsiteY71" fmla="*/ 321469 h 457200"/>
              <a:gd name="connsiteX72" fmla="*/ 194024 w 504825"/>
              <a:gd name="connsiteY72" fmla="*/ 294894 h 457200"/>
              <a:gd name="connsiteX73" fmla="*/ 121539 w 504825"/>
              <a:gd name="connsiteY73" fmla="*/ 388144 h 457200"/>
              <a:gd name="connsiteX74" fmla="*/ 87821 w 504825"/>
              <a:gd name="connsiteY74" fmla="*/ 374237 h 457200"/>
              <a:gd name="connsiteX75" fmla="*/ 87821 w 504825"/>
              <a:gd name="connsiteY75" fmla="*/ 306896 h 457200"/>
              <a:gd name="connsiteX76" fmla="*/ 121539 w 504825"/>
              <a:gd name="connsiteY76" fmla="*/ 292989 h 457200"/>
              <a:gd name="connsiteX77" fmla="*/ 155258 w 504825"/>
              <a:gd name="connsiteY77" fmla="*/ 306896 h 457200"/>
              <a:gd name="connsiteX78" fmla="*/ 155258 w 504825"/>
              <a:gd name="connsiteY78" fmla="*/ 374237 h 457200"/>
              <a:gd name="connsiteX79" fmla="*/ 121539 w 504825"/>
              <a:gd name="connsiteY79" fmla="*/ 388144 h 457200"/>
              <a:gd name="connsiteX80" fmla="*/ 501301 w 504825"/>
              <a:gd name="connsiteY80" fmla="*/ 359569 h 457200"/>
              <a:gd name="connsiteX81" fmla="*/ 501301 w 504825"/>
              <a:gd name="connsiteY81" fmla="*/ 321469 h 457200"/>
              <a:gd name="connsiteX82" fmla="*/ 470535 w 504825"/>
              <a:gd name="connsiteY82" fmla="*/ 321469 h 457200"/>
              <a:gd name="connsiteX83" fmla="*/ 459581 w 504825"/>
              <a:gd name="connsiteY83" fmla="*/ 294894 h 457200"/>
              <a:gd name="connsiteX84" fmla="*/ 481298 w 504825"/>
              <a:gd name="connsiteY84" fmla="*/ 273177 h 457200"/>
              <a:gd name="connsiteX85" fmla="*/ 454342 w 504825"/>
              <a:gd name="connsiteY85" fmla="*/ 246221 h 457200"/>
              <a:gd name="connsiteX86" fmla="*/ 432625 w 504825"/>
              <a:gd name="connsiteY86" fmla="*/ 267938 h 457200"/>
              <a:gd name="connsiteX87" fmla="*/ 406051 w 504825"/>
              <a:gd name="connsiteY87" fmla="*/ 256985 h 457200"/>
              <a:gd name="connsiteX88" fmla="*/ 406051 w 504825"/>
              <a:gd name="connsiteY88" fmla="*/ 226219 h 457200"/>
              <a:gd name="connsiteX89" fmla="*/ 367951 w 504825"/>
              <a:gd name="connsiteY89" fmla="*/ 226219 h 457200"/>
              <a:gd name="connsiteX90" fmla="*/ 367951 w 504825"/>
              <a:gd name="connsiteY90" fmla="*/ 256985 h 457200"/>
              <a:gd name="connsiteX91" fmla="*/ 341376 w 504825"/>
              <a:gd name="connsiteY91" fmla="*/ 267938 h 457200"/>
              <a:gd name="connsiteX92" fmla="*/ 319659 w 504825"/>
              <a:gd name="connsiteY92" fmla="*/ 246221 h 457200"/>
              <a:gd name="connsiteX93" fmla="*/ 292703 w 504825"/>
              <a:gd name="connsiteY93" fmla="*/ 273177 h 457200"/>
              <a:gd name="connsiteX94" fmla="*/ 314420 w 504825"/>
              <a:gd name="connsiteY94" fmla="*/ 294894 h 457200"/>
              <a:gd name="connsiteX95" fmla="*/ 303467 w 504825"/>
              <a:gd name="connsiteY95" fmla="*/ 321469 h 457200"/>
              <a:gd name="connsiteX96" fmla="*/ 272701 w 504825"/>
              <a:gd name="connsiteY96" fmla="*/ 321469 h 457200"/>
              <a:gd name="connsiteX97" fmla="*/ 272701 w 504825"/>
              <a:gd name="connsiteY97" fmla="*/ 359569 h 457200"/>
              <a:gd name="connsiteX98" fmla="*/ 303467 w 504825"/>
              <a:gd name="connsiteY98" fmla="*/ 359569 h 457200"/>
              <a:gd name="connsiteX99" fmla="*/ 314420 w 504825"/>
              <a:gd name="connsiteY99" fmla="*/ 386144 h 457200"/>
              <a:gd name="connsiteX100" fmla="*/ 292703 w 504825"/>
              <a:gd name="connsiteY100" fmla="*/ 407861 h 457200"/>
              <a:gd name="connsiteX101" fmla="*/ 319659 w 504825"/>
              <a:gd name="connsiteY101" fmla="*/ 434816 h 457200"/>
              <a:gd name="connsiteX102" fmla="*/ 341376 w 504825"/>
              <a:gd name="connsiteY102" fmla="*/ 413099 h 457200"/>
              <a:gd name="connsiteX103" fmla="*/ 367951 w 504825"/>
              <a:gd name="connsiteY103" fmla="*/ 424053 h 457200"/>
              <a:gd name="connsiteX104" fmla="*/ 367951 w 504825"/>
              <a:gd name="connsiteY104" fmla="*/ 454819 h 457200"/>
              <a:gd name="connsiteX105" fmla="*/ 406051 w 504825"/>
              <a:gd name="connsiteY105" fmla="*/ 454819 h 457200"/>
              <a:gd name="connsiteX106" fmla="*/ 406051 w 504825"/>
              <a:gd name="connsiteY106" fmla="*/ 424053 h 457200"/>
              <a:gd name="connsiteX107" fmla="*/ 432625 w 504825"/>
              <a:gd name="connsiteY107" fmla="*/ 413099 h 457200"/>
              <a:gd name="connsiteX108" fmla="*/ 454342 w 504825"/>
              <a:gd name="connsiteY108" fmla="*/ 434816 h 457200"/>
              <a:gd name="connsiteX109" fmla="*/ 481298 w 504825"/>
              <a:gd name="connsiteY109" fmla="*/ 407861 h 457200"/>
              <a:gd name="connsiteX110" fmla="*/ 459581 w 504825"/>
              <a:gd name="connsiteY110" fmla="*/ 386144 h 457200"/>
              <a:gd name="connsiteX111" fmla="*/ 470535 w 504825"/>
              <a:gd name="connsiteY111" fmla="*/ 359569 h 457200"/>
              <a:gd name="connsiteX112" fmla="*/ 501301 w 504825"/>
              <a:gd name="connsiteY112" fmla="*/ 359569 h 457200"/>
              <a:gd name="connsiteX113" fmla="*/ 387001 w 504825"/>
              <a:gd name="connsiteY113" fmla="*/ 388144 h 457200"/>
              <a:gd name="connsiteX114" fmla="*/ 353282 w 504825"/>
              <a:gd name="connsiteY114" fmla="*/ 374237 h 457200"/>
              <a:gd name="connsiteX115" fmla="*/ 353282 w 504825"/>
              <a:gd name="connsiteY115" fmla="*/ 306896 h 457200"/>
              <a:gd name="connsiteX116" fmla="*/ 387001 w 504825"/>
              <a:gd name="connsiteY116" fmla="*/ 292989 h 457200"/>
              <a:gd name="connsiteX117" fmla="*/ 420719 w 504825"/>
              <a:gd name="connsiteY117" fmla="*/ 306896 h 457200"/>
              <a:gd name="connsiteX118" fmla="*/ 420719 w 504825"/>
              <a:gd name="connsiteY118" fmla="*/ 374237 h 457200"/>
              <a:gd name="connsiteX119" fmla="*/ 387001 w 504825"/>
              <a:gd name="connsiteY119" fmla="*/ 3881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04825" h="457200">
                <a:moveTo>
                  <a:pt x="272701" y="204978"/>
                </a:moveTo>
                <a:cubicBezTo>
                  <a:pt x="281940" y="202883"/>
                  <a:pt x="290989" y="199263"/>
                  <a:pt x="299275" y="194024"/>
                </a:cubicBezTo>
                <a:lnTo>
                  <a:pt x="320992" y="215741"/>
                </a:lnTo>
                <a:lnTo>
                  <a:pt x="347948" y="188786"/>
                </a:lnTo>
                <a:lnTo>
                  <a:pt x="326231" y="167069"/>
                </a:lnTo>
                <a:cubicBezTo>
                  <a:pt x="331470" y="158782"/>
                  <a:pt x="335090" y="149828"/>
                  <a:pt x="337185" y="140494"/>
                </a:cubicBezTo>
                <a:lnTo>
                  <a:pt x="367951" y="140494"/>
                </a:lnTo>
                <a:lnTo>
                  <a:pt x="367951" y="102394"/>
                </a:lnTo>
                <a:lnTo>
                  <a:pt x="337185" y="102394"/>
                </a:lnTo>
                <a:cubicBezTo>
                  <a:pt x="335090" y="93155"/>
                  <a:pt x="331470" y="84106"/>
                  <a:pt x="326231" y="75819"/>
                </a:cubicBezTo>
                <a:lnTo>
                  <a:pt x="347948" y="54102"/>
                </a:lnTo>
                <a:lnTo>
                  <a:pt x="320992" y="27146"/>
                </a:lnTo>
                <a:lnTo>
                  <a:pt x="299275" y="48863"/>
                </a:lnTo>
                <a:cubicBezTo>
                  <a:pt x="290989" y="43625"/>
                  <a:pt x="282035" y="40005"/>
                  <a:pt x="272701" y="37910"/>
                </a:cubicBezTo>
                <a:lnTo>
                  <a:pt x="272701" y="7144"/>
                </a:lnTo>
                <a:lnTo>
                  <a:pt x="234601" y="7144"/>
                </a:lnTo>
                <a:lnTo>
                  <a:pt x="234601" y="37910"/>
                </a:lnTo>
                <a:cubicBezTo>
                  <a:pt x="225362" y="40005"/>
                  <a:pt x="216313" y="43625"/>
                  <a:pt x="208026" y="48863"/>
                </a:cubicBezTo>
                <a:lnTo>
                  <a:pt x="186309" y="27146"/>
                </a:lnTo>
                <a:lnTo>
                  <a:pt x="159353" y="54102"/>
                </a:lnTo>
                <a:lnTo>
                  <a:pt x="181070" y="75819"/>
                </a:lnTo>
                <a:cubicBezTo>
                  <a:pt x="175831" y="84106"/>
                  <a:pt x="172212" y="93059"/>
                  <a:pt x="170117" y="102394"/>
                </a:cubicBezTo>
                <a:lnTo>
                  <a:pt x="139351" y="102394"/>
                </a:lnTo>
                <a:lnTo>
                  <a:pt x="139351" y="140494"/>
                </a:lnTo>
                <a:lnTo>
                  <a:pt x="170117" y="140494"/>
                </a:lnTo>
                <a:cubicBezTo>
                  <a:pt x="172212" y="149733"/>
                  <a:pt x="175831" y="158782"/>
                  <a:pt x="181070" y="167069"/>
                </a:cubicBezTo>
                <a:lnTo>
                  <a:pt x="159353" y="188786"/>
                </a:lnTo>
                <a:lnTo>
                  <a:pt x="186309" y="215741"/>
                </a:lnTo>
                <a:lnTo>
                  <a:pt x="208026" y="194024"/>
                </a:lnTo>
                <a:cubicBezTo>
                  <a:pt x="216313" y="199263"/>
                  <a:pt x="225266" y="202883"/>
                  <a:pt x="234601" y="204978"/>
                </a:cubicBezTo>
                <a:lnTo>
                  <a:pt x="234601" y="235744"/>
                </a:lnTo>
                <a:lnTo>
                  <a:pt x="272701" y="235744"/>
                </a:lnTo>
                <a:lnTo>
                  <a:pt x="272701" y="204978"/>
                </a:lnTo>
                <a:close/>
                <a:moveTo>
                  <a:pt x="219932" y="87821"/>
                </a:moveTo>
                <a:cubicBezTo>
                  <a:pt x="228886" y="78867"/>
                  <a:pt x="240887" y="73914"/>
                  <a:pt x="253651" y="73914"/>
                </a:cubicBezTo>
                <a:cubicBezTo>
                  <a:pt x="266414" y="73914"/>
                  <a:pt x="278321" y="78867"/>
                  <a:pt x="287369" y="87821"/>
                </a:cubicBezTo>
                <a:cubicBezTo>
                  <a:pt x="305943" y="106394"/>
                  <a:pt x="305943" y="136589"/>
                  <a:pt x="287369" y="155162"/>
                </a:cubicBezTo>
                <a:cubicBezTo>
                  <a:pt x="278416" y="164116"/>
                  <a:pt x="266414" y="169069"/>
                  <a:pt x="253651" y="169069"/>
                </a:cubicBezTo>
                <a:cubicBezTo>
                  <a:pt x="240887" y="169069"/>
                  <a:pt x="228981" y="164116"/>
                  <a:pt x="219932" y="155162"/>
                </a:cubicBezTo>
                <a:cubicBezTo>
                  <a:pt x="201359" y="136589"/>
                  <a:pt x="201359" y="106394"/>
                  <a:pt x="219932" y="87821"/>
                </a:cubicBezTo>
                <a:close/>
                <a:moveTo>
                  <a:pt x="194024" y="294894"/>
                </a:moveTo>
                <a:lnTo>
                  <a:pt x="215741" y="273177"/>
                </a:lnTo>
                <a:lnTo>
                  <a:pt x="188786" y="246221"/>
                </a:lnTo>
                <a:lnTo>
                  <a:pt x="167069" y="267938"/>
                </a:lnTo>
                <a:cubicBezTo>
                  <a:pt x="158782" y="262700"/>
                  <a:pt x="149828" y="259080"/>
                  <a:pt x="140494" y="256985"/>
                </a:cubicBezTo>
                <a:lnTo>
                  <a:pt x="140494" y="226219"/>
                </a:lnTo>
                <a:lnTo>
                  <a:pt x="102394" y="226219"/>
                </a:lnTo>
                <a:lnTo>
                  <a:pt x="102394" y="256985"/>
                </a:lnTo>
                <a:cubicBezTo>
                  <a:pt x="93154" y="259080"/>
                  <a:pt x="84106" y="262700"/>
                  <a:pt x="75819" y="267938"/>
                </a:cubicBezTo>
                <a:lnTo>
                  <a:pt x="54102" y="246221"/>
                </a:lnTo>
                <a:lnTo>
                  <a:pt x="27146" y="273177"/>
                </a:lnTo>
                <a:lnTo>
                  <a:pt x="48863" y="294894"/>
                </a:lnTo>
                <a:cubicBezTo>
                  <a:pt x="43625" y="303181"/>
                  <a:pt x="40005" y="312134"/>
                  <a:pt x="37910" y="321469"/>
                </a:cubicBezTo>
                <a:lnTo>
                  <a:pt x="7144" y="321469"/>
                </a:lnTo>
                <a:lnTo>
                  <a:pt x="7144" y="359569"/>
                </a:lnTo>
                <a:lnTo>
                  <a:pt x="37910" y="359569"/>
                </a:lnTo>
                <a:cubicBezTo>
                  <a:pt x="40005" y="368808"/>
                  <a:pt x="43625" y="377857"/>
                  <a:pt x="48863" y="386144"/>
                </a:cubicBezTo>
                <a:lnTo>
                  <a:pt x="27146" y="407861"/>
                </a:lnTo>
                <a:lnTo>
                  <a:pt x="54102" y="434816"/>
                </a:lnTo>
                <a:lnTo>
                  <a:pt x="75819" y="413099"/>
                </a:lnTo>
                <a:cubicBezTo>
                  <a:pt x="84106" y="418338"/>
                  <a:pt x="93059" y="421958"/>
                  <a:pt x="102394" y="424053"/>
                </a:cubicBezTo>
                <a:lnTo>
                  <a:pt x="102394" y="454819"/>
                </a:lnTo>
                <a:lnTo>
                  <a:pt x="140494" y="454819"/>
                </a:lnTo>
                <a:lnTo>
                  <a:pt x="140494" y="424053"/>
                </a:lnTo>
                <a:cubicBezTo>
                  <a:pt x="149733" y="421958"/>
                  <a:pt x="158782" y="418338"/>
                  <a:pt x="167069" y="413099"/>
                </a:cubicBezTo>
                <a:lnTo>
                  <a:pt x="188786" y="434816"/>
                </a:lnTo>
                <a:lnTo>
                  <a:pt x="215741" y="407861"/>
                </a:lnTo>
                <a:lnTo>
                  <a:pt x="194024" y="386144"/>
                </a:lnTo>
                <a:cubicBezTo>
                  <a:pt x="199263" y="377857"/>
                  <a:pt x="202883" y="368903"/>
                  <a:pt x="204978" y="359569"/>
                </a:cubicBezTo>
                <a:lnTo>
                  <a:pt x="235744" y="359569"/>
                </a:lnTo>
                <a:lnTo>
                  <a:pt x="235744" y="321469"/>
                </a:lnTo>
                <a:lnTo>
                  <a:pt x="204978" y="321469"/>
                </a:lnTo>
                <a:cubicBezTo>
                  <a:pt x="202883" y="312230"/>
                  <a:pt x="199263" y="303276"/>
                  <a:pt x="194024" y="294894"/>
                </a:cubicBezTo>
                <a:close/>
                <a:moveTo>
                  <a:pt x="121539" y="388144"/>
                </a:moveTo>
                <a:cubicBezTo>
                  <a:pt x="108775" y="388144"/>
                  <a:pt x="96869" y="383191"/>
                  <a:pt x="87821" y="374237"/>
                </a:cubicBezTo>
                <a:cubicBezTo>
                  <a:pt x="69247" y="355664"/>
                  <a:pt x="69247" y="325469"/>
                  <a:pt x="87821" y="306896"/>
                </a:cubicBezTo>
                <a:cubicBezTo>
                  <a:pt x="96774" y="297942"/>
                  <a:pt x="108775" y="292989"/>
                  <a:pt x="121539" y="292989"/>
                </a:cubicBezTo>
                <a:cubicBezTo>
                  <a:pt x="134302" y="292989"/>
                  <a:pt x="146209" y="297942"/>
                  <a:pt x="155258" y="306896"/>
                </a:cubicBezTo>
                <a:cubicBezTo>
                  <a:pt x="173831" y="325469"/>
                  <a:pt x="173831" y="355664"/>
                  <a:pt x="155258" y="374237"/>
                </a:cubicBezTo>
                <a:cubicBezTo>
                  <a:pt x="146209" y="383191"/>
                  <a:pt x="134207" y="388144"/>
                  <a:pt x="121539" y="388144"/>
                </a:cubicBezTo>
                <a:close/>
                <a:moveTo>
                  <a:pt x="501301" y="359569"/>
                </a:moveTo>
                <a:lnTo>
                  <a:pt x="501301" y="321469"/>
                </a:lnTo>
                <a:lnTo>
                  <a:pt x="470535" y="321469"/>
                </a:lnTo>
                <a:cubicBezTo>
                  <a:pt x="468440" y="312230"/>
                  <a:pt x="464820" y="303181"/>
                  <a:pt x="459581" y="294894"/>
                </a:cubicBezTo>
                <a:lnTo>
                  <a:pt x="481298" y="273177"/>
                </a:lnTo>
                <a:lnTo>
                  <a:pt x="454342" y="246221"/>
                </a:lnTo>
                <a:lnTo>
                  <a:pt x="432625" y="267938"/>
                </a:lnTo>
                <a:cubicBezTo>
                  <a:pt x="424339" y="262700"/>
                  <a:pt x="415385" y="259080"/>
                  <a:pt x="406051" y="256985"/>
                </a:cubicBezTo>
                <a:lnTo>
                  <a:pt x="406051" y="226219"/>
                </a:lnTo>
                <a:lnTo>
                  <a:pt x="367951" y="226219"/>
                </a:lnTo>
                <a:lnTo>
                  <a:pt x="367951" y="256985"/>
                </a:lnTo>
                <a:cubicBezTo>
                  <a:pt x="358712" y="259080"/>
                  <a:pt x="349663" y="262700"/>
                  <a:pt x="341376" y="267938"/>
                </a:cubicBezTo>
                <a:lnTo>
                  <a:pt x="319659" y="246221"/>
                </a:lnTo>
                <a:lnTo>
                  <a:pt x="292703" y="273177"/>
                </a:lnTo>
                <a:lnTo>
                  <a:pt x="314420" y="294894"/>
                </a:lnTo>
                <a:cubicBezTo>
                  <a:pt x="309182" y="303181"/>
                  <a:pt x="305562" y="312134"/>
                  <a:pt x="303467" y="321469"/>
                </a:cubicBezTo>
                <a:lnTo>
                  <a:pt x="272701" y="321469"/>
                </a:lnTo>
                <a:lnTo>
                  <a:pt x="272701" y="359569"/>
                </a:lnTo>
                <a:lnTo>
                  <a:pt x="303467" y="359569"/>
                </a:lnTo>
                <a:cubicBezTo>
                  <a:pt x="305562" y="368808"/>
                  <a:pt x="309182" y="377857"/>
                  <a:pt x="314420" y="386144"/>
                </a:cubicBezTo>
                <a:lnTo>
                  <a:pt x="292703" y="407861"/>
                </a:lnTo>
                <a:lnTo>
                  <a:pt x="319659" y="434816"/>
                </a:lnTo>
                <a:lnTo>
                  <a:pt x="341376" y="413099"/>
                </a:lnTo>
                <a:cubicBezTo>
                  <a:pt x="349663" y="418338"/>
                  <a:pt x="358616" y="421958"/>
                  <a:pt x="367951" y="424053"/>
                </a:cubicBezTo>
                <a:lnTo>
                  <a:pt x="367951" y="454819"/>
                </a:lnTo>
                <a:lnTo>
                  <a:pt x="406051" y="454819"/>
                </a:lnTo>
                <a:lnTo>
                  <a:pt x="406051" y="424053"/>
                </a:lnTo>
                <a:cubicBezTo>
                  <a:pt x="415290" y="421958"/>
                  <a:pt x="424339" y="418338"/>
                  <a:pt x="432625" y="413099"/>
                </a:cubicBezTo>
                <a:lnTo>
                  <a:pt x="454342" y="434816"/>
                </a:lnTo>
                <a:lnTo>
                  <a:pt x="481298" y="407861"/>
                </a:lnTo>
                <a:lnTo>
                  <a:pt x="459581" y="386144"/>
                </a:lnTo>
                <a:cubicBezTo>
                  <a:pt x="464820" y="377857"/>
                  <a:pt x="468440" y="368903"/>
                  <a:pt x="470535" y="359569"/>
                </a:cubicBezTo>
                <a:lnTo>
                  <a:pt x="501301" y="359569"/>
                </a:lnTo>
                <a:close/>
                <a:moveTo>
                  <a:pt x="387001" y="388144"/>
                </a:moveTo>
                <a:cubicBezTo>
                  <a:pt x="374237" y="388144"/>
                  <a:pt x="362331" y="383191"/>
                  <a:pt x="353282" y="374237"/>
                </a:cubicBezTo>
                <a:cubicBezTo>
                  <a:pt x="334709" y="355664"/>
                  <a:pt x="334709" y="325469"/>
                  <a:pt x="353282" y="306896"/>
                </a:cubicBezTo>
                <a:cubicBezTo>
                  <a:pt x="362236" y="297942"/>
                  <a:pt x="374237" y="292989"/>
                  <a:pt x="387001" y="292989"/>
                </a:cubicBezTo>
                <a:cubicBezTo>
                  <a:pt x="399764" y="292989"/>
                  <a:pt x="411671" y="297942"/>
                  <a:pt x="420719" y="306896"/>
                </a:cubicBezTo>
                <a:cubicBezTo>
                  <a:pt x="439293" y="325469"/>
                  <a:pt x="439293" y="355664"/>
                  <a:pt x="420719" y="374237"/>
                </a:cubicBezTo>
                <a:cubicBezTo>
                  <a:pt x="411671" y="383191"/>
                  <a:pt x="399669" y="388144"/>
                  <a:pt x="387001" y="388144"/>
                </a:cubicBezTo>
                <a:close/>
              </a:path>
            </a:pathLst>
          </a:custGeom>
          <a:solidFill>
            <a:schemeClr val="tx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BA76D6B4-5106-4A01-BE66-1D5BA9D764C5}"/>
              </a:ext>
            </a:extLst>
          </p:cNvPr>
          <p:cNvSpPr/>
          <p:nvPr/>
        </p:nvSpPr>
        <p:spPr>
          <a:xfrm>
            <a:off x="3357708" y="4615394"/>
            <a:ext cx="544661" cy="387725"/>
          </a:xfrm>
          <a:custGeom>
            <a:avLst/>
            <a:gdLst>
              <a:gd name="connsiteX0" fmla="*/ 511969 w 561975"/>
              <a:gd name="connsiteY0" fmla="*/ 73819 h 400050"/>
              <a:gd name="connsiteX1" fmla="*/ 559594 w 561975"/>
              <a:gd name="connsiteY1" fmla="*/ 73819 h 400050"/>
              <a:gd name="connsiteX2" fmla="*/ 559594 w 561975"/>
              <a:gd name="connsiteY2" fmla="*/ 35719 h 400050"/>
              <a:gd name="connsiteX3" fmla="*/ 473869 w 561975"/>
              <a:gd name="connsiteY3" fmla="*/ 35719 h 400050"/>
              <a:gd name="connsiteX4" fmla="*/ 473869 w 561975"/>
              <a:gd name="connsiteY4" fmla="*/ 64770 h 400050"/>
              <a:gd name="connsiteX5" fmla="*/ 382429 w 561975"/>
              <a:gd name="connsiteY5" fmla="*/ 26670 h 400050"/>
              <a:gd name="connsiteX6" fmla="*/ 292513 w 561975"/>
              <a:gd name="connsiteY6" fmla="*/ 26670 h 400050"/>
              <a:gd name="connsiteX7" fmla="*/ 247364 w 561975"/>
              <a:gd name="connsiteY7" fmla="*/ 45244 h 400050"/>
              <a:gd name="connsiteX8" fmla="*/ 92869 w 561975"/>
              <a:gd name="connsiteY8" fmla="*/ 45244 h 400050"/>
              <a:gd name="connsiteX9" fmla="*/ 92869 w 561975"/>
              <a:gd name="connsiteY9" fmla="*/ 7144 h 400050"/>
              <a:gd name="connsiteX10" fmla="*/ 7144 w 561975"/>
              <a:gd name="connsiteY10" fmla="*/ 7144 h 400050"/>
              <a:gd name="connsiteX11" fmla="*/ 7144 w 561975"/>
              <a:gd name="connsiteY11" fmla="*/ 45244 h 400050"/>
              <a:gd name="connsiteX12" fmla="*/ 54769 w 561975"/>
              <a:gd name="connsiteY12" fmla="*/ 45244 h 400050"/>
              <a:gd name="connsiteX13" fmla="*/ 54769 w 561975"/>
              <a:gd name="connsiteY13" fmla="*/ 264319 h 400050"/>
              <a:gd name="connsiteX14" fmla="*/ 7144 w 561975"/>
              <a:gd name="connsiteY14" fmla="*/ 264319 h 400050"/>
              <a:gd name="connsiteX15" fmla="*/ 7144 w 561975"/>
              <a:gd name="connsiteY15" fmla="*/ 302419 h 400050"/>
              <a:gd name="connsiteX16" fmla="*/ 92869 w 561975"/>
              <a:gd name="connsiteY16" fmla="*/ 302419 h 400050"/>
              <a:gd name="connsiteX17" fmla="*/ 92869 w 561975"/>
              <a:gd name="connsiteY17" fmla="*/ 273844 h 400050"/>
              <a:gd name="connsiteX18" fmla="*/ 110966 w 561975"/>
              <a:gd name="connsiteY18" fmla="*/ 273844 h 400050"/>
              <a:gd name="connsiteX19" fmla="*/ 162592 w 561975"/>
              <a:gd name="connsiteY19" fmla="*/ 354997 h 400050"/>
              <a:gd name="connsiteX20" fmla="*/ 195167 w 561975"/>
              <a:gd name="connsiteY20" fmla="*/ 384429 h 400050"/>
              <a:gd name="connsiteX21" fmla="*/ 231934 w 561975"/>
              <a:gd name="connsiteY21" fmla="*/ 393097 h 400050"/>
              <a:gd name="connsiteX22" fmla="*/ 255651 w 561975"/>
              <a:gd name="connsiteY22" fmla="*/ 389573 h 400050"/>
              <a:gd name="connsiteX23" fmla="*/ 381381 w 561975"/>
              <a:gd name="connsiteY23" fmla="*/ 351854 h 400050"/>
              <a:gd name="connsiteX24" fmla="*/ 446532 w 561975"/>
              <a:gd name="connsiteY24" fmla="*/ 302800 h 400050"/>
              <a:gd name="connsiteX25" fmla="*/ 473869 w 561975"/>
              <a:gd name="connsiteY25" fmla="*/ 302800 h 400050"/>
              <a:gd name="connsiteX26" fmla="*/ 473869 w 561975"/>
              <a:gd name="connsiteY26" fmla="*/ 330899 h 400050"/>
              <a:gd name="connsiteX27" fmla="*/ 559594 w 561975"/>
              <a:gd name="connsiteY27" fmla="*/ 330899 h 400050"/>
              <a:gd name="connsiteX28" fmla="*/ 559594 w 561975"/>
              <a:gd name="connsiteY28" fmla="*/ 292799 h 400050"/>
              <a:gd name="connsiteX29" fmla="*/ 511969 w 561975"/>
              <a:gd name="connsiteY29" fmla="*/ 292799 h 400050"/>
              <a:gd name="connsiteX30" fmla="*/ 511969 w 561975"/>
              <a:gd name="connsiteY30" fmla="*/ 80582 h 400050"/>
              <a:gd name="connsiteX31" fmla="*/ 511969 w 561975"/>
              <a:gd name="connsiteY31" fmla="*/ 73819 h 400050"/>
              <a:gd name="connsiteX32" fmla="*/ 370427 w 561975"/>
              <a:gd name="connsiteY32" fmla="*/ 315468 h 400050"/>
              <a:gd name="connsiteX33" fmla="*/ 244697 w 561975"/>
              <a:gd name="connsiteY33" fmla="*/ 353187 h 400050"/>
              <a:gd name="connsiteX34" fmla="*/ 212217 w 561975"/>
              <a:gd name="connsiteY34" fmla="*/ 350425 h 400050"/>
              <a:gd name="connsiteX35" fmla="*/ 194691 w 561975"/>
              <a:gd name="connsiteY35" fmla="*/ 334613 h 400050"/>
              <a:gd name="connsiteX36" fmla="*/ 131826 w 561975"/>
              <a:gd name="connsiteY36" fmla="*/ 235839 h 400050"/>
              <a:gd name="connsiteX37" fmla="*/ 92869 w 561975"/>
              <a:gd name="connsiteY37" fmla="*/ 235839 h 400050"/>
              <a:gd name="connsiteX38" fmla="*/ 92869 w 561975"/>
              <a:gd name="connsiteY38" fmla="*/ 83439 h 400050"/>
              <a:gd name="connsiteX39" fmla="*/ 209264 w 561975"/>
              <a:gd name="connsiteY39" fmla="*/ 83439 h 400050"/>
              <a:gd name="connsiteX40" fmla="*/ 132683 w 561975"/>
              <a:gd name="connsiteY40" fmla="*/ 160020 h 400050"/>
              <a:gd name="connsiteX41" fmla="*/ 156020 w 561975"/>
              <a:gd name="connsiteY41" fmla="*/ 183547 h 400050"/>
              <a:gd name="connsiteX42" fmla="*/ 216694 w 561975"/>
              <a:gd name="connsiteY42" fmla="*/ 208883 h 400050"/>
              <a:gd name="connsiteX43" fmla="*/ 216694 w 561975"/>
              <a:gd name="connsiteY43" fmla="*/ 208883 h 400050"/>
              <a:gd name="connsiteX44" fmla="*/ 277368 w 561975"/>
              <a:gd name="connsiteY44" fmla="*/ 183642 h 400050"/>
              <a:gd name="connsiteX45" fmla="*/ 300800 w 561975"/>
              <a:gd name="connsiteY45" fmla="*/ 160115 h 400050"/>
              <a:gd name="connsiteX46" fmla="*/ 330327 w 561975"/>
              <a:gd name="connsiteY46" fmla="*/ 160115 h 400050"/>
              <a:gd name="connsiteX47" fmla="*/ 413099 w 561975"/>
              <a:gd name="connsiteY47" fmla="*/ 284321 h 400050"/>
              <a:gd name="connsiteX48" fmla="*/ 370427 w 561975"/>
              <a:gd name="connsiteY48" fmla="*/ 315468 h 400050"/>
              <a:gd name="connsiteX49" fmla="*/ 445961 w 561975"/>
              <a:gd name="connsiteY49" fmla="*/ 264795 h 400050"/>
              <a:gd name="connsiteX50" fmla="*/ 350711 w 561975"/>
              <a:gd name="connsiteY50" fmla="*/ 121920 h 400050"/>
              <a:gd name="connsiteX51" fmla="*/ 284988 w 561975"/>
              <a:gd name="connsiteY51" fmla="*/ 121920 h 400050"/>
              <a:gd name="connsiteX52" fmla="*/ 250412 w 561975"/>
              <a:gd name="connsiteY52" fmla="*/ 156686 h 400050"/>
              <a:gd name="connsiteX53" fmla="*/ 216789 w 561975"/>
              <a:gd name="connsiteY53" fmla="*/ 170688 h 400050"/>
              <a:gd name="connsiteX54" fmla="*/ 216789 w 561975"/>
              <a:gd name="connsiteY54" fmla="*/ 170688 h 400050"/>
              <a:gd name="connsiteX55" fmla="*/ 186690 w 561975"/>
              <a:gd name="connsiteY55" fmla="*/ 159925 h 400050"/>
              <a:gd name="connsiteX56" fmla="*/ 274225 w 561975"/>
              <a:gd name="connsiteY56" fmla="*/ 72390 h 400050"/>
              <a:gd name="connsiteX57" fmla="*/ 292608 w 561975"/>
              <a:gd name="connsiteY57" fmla="*/ 64770 h 400050"/>
              <a:gd name="connsiteX58" fmla="*/ 374904 w 561975"/>
              <a:gd name="connsiteY58" fmla="*/ 64770 h 400050"/>
              <a:gd name="connsiteX59" fmla="*/ 473964 w 561975"/>
              <a:gd name="connsiteY59" fmla="*/ 106013 h 400050"/>
              <a:gd name="connsiteX60" fmla="*/ 473964 w 561975"/>
              <a:gd name="connsiteY60" fmla="*/ 264795 h 400050"/>
              <a:gd name="connsiteX61" fmla="*/ 445961 w 561975"/>
              <a:gd name="connsiteY61" fmla="*/ 264795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61975" h="400050">
                <a:moveTo>
                  <a:pt x="511969" y="73819"/>
                </a:moveTo>
                <a:lnTo>
                  <a:pt x="559594" y="73819"/>
                </a:lnTo>
                <a:lnTo>
                  <a:pt x="559594" y="35719"/>
                </a:lnTo>
                <a:lnTo>
                  <a:pt x="473869" y="35719"/>
                </a:lnTo>
                <a:lnTo>
                  <a:pt x="473869" y="64770"/>
                </a:lnTo>
                <a:lnTo>
                  <a:pt x="382429" y="26670"/>
                </a:lnTo>
                <a:lnTo>
                  <a:pt x="292513" y="26670"/>
                </a:lnTo>
                <a:cubicBezTo>
                  <a:pt x="275463" y="26670"/>
                  <a:pt x="259461" y="33242"/>
                  <a:pt x="247364" y="45244"/>
                </a:cubicBezTo>
                <a:lnTo>
                  <a:pt x="92869" y="45244"/>
                </a:lnTo>
                <a:lnTo>
                  <a:pt x="92869" y="7144"/>
                </a:lnTo>
                <a:lnTo>
                  <a:pt x="7144" y="7144"/>
                </a:lnTo>
                <a:lnTo>
                  <a:pt x="7144" y="45244"/>
                </a:lnTo>
                <a:lnTo>
                  <a:pt x="54769" y="45244"/>
                </a:lnTo>
                <a:lnTo>
                  <a:pt x="54769" y="264319"/>
                </a:lnTo>
                <a:lnTo>
                  <a:pt x="7144" y="264319"/>
                </a:lnTo>
                <a:lnTo>
                  <a:pt x="7144" y="302419"/>
                </a:lnTo>
                <a:lnTo>
                  <a:pt x="92869" y="302419"/>
                </a:lnTo>
                <a:lnTo>
                  <a:pt x="92869" y="273844"/>
                </a:lnTo>
                <a:lnTo>
                  <a:pt x="110966" y="273844"/>
                </a:lnTo>
                <a:lnTo>
                  <a:pt x="162592" y="354997"/>
                </a:lnTo>
                <a:cubicBezTo>
                  <a:pt x="170593" y="367570"/>
                  <a:pt x="181833" y="377762"/>
                  <a:pt x="195167" y="384429"/>
                </a:cubicBezTo>
                <a:cubicBezTo>
                  <a:pt x="206693" y="390239"/>
                  <a:pt x="219266" y="393097"/>
                  <a:pt x="231934" y="393097"/>
                </a:cubicBezTo>
                <a:cubicBezTo>
                  <a:pt x="239839" y="393097"/>
                  <a:pt x="247841" y="391954"/>
                  <a:pt x="255651" y="389573"/>
                </a:cubicBezTo>
                <a:lnTo>
                  <a:pt x="381381" y="351854"/>
                </a:lnTo>
                <a:cubicBezTo>
                  <a:pt x="408241" y="343757"/>
                  <a:pt x="431387" y="326136"/>
                  <a:pt x="446532" y="302800"/>
                </a:cubicBezTo>
                <a:lnTo>
                  <a:pt x="473869" y="302800"/>
                </a:lnTo>
                <a:lnTo>
                  <a:pt x="473869" y="330899"/>
                </a:lnTo>
                <a:lnTo>
                  <a:pt x="559594" y="330899"/>
                </a:lnTo>
                <a:lnTo>
                  <a:pt x="559594" y="292799"/>
                </a:lnTo>
                <a:lnTo>
                  <a:pt x="511969" y="292799"/>
                </a:lnTo>
                <a:lnTo>
                  <a:pt x="511969" y="80582"/>
                </a:lnTo>
                <a:lnTo>
                  <a:pt x="511969" y="73819"/>
                </a:lnTo>
                <a:close/>
                <a:moveTo>
                  <a:pt x="370427" y="315468"/>
                </a:moveTo>
                <a:lnTo>
                  <a:pt x="244697" y="353187"/>
                </a:lnTo>
                <a:cubicBezTo>
                  <a:pt x="233839" y="356426"/>
                  <a:pt x="222314" y="355473"/>
                  <a:pt x="212217" y="350425"/>
                </a:cubicBezTo>
                <a:cubicBezTo>
                  <a:pt x="205074" y="346805"/>
                  <a:pt x="198977" y="341376"/>
                  <a:pt x="194691" y="334613"/>
                </a:cubicBezTo>
                <a:lnTo>
                  <a:pt x="131826" y="235839"/>
                </a:lnTo>
                <a:lnTo>
                  <a:pt x="92869" y="235839"/>
                </a:lnTo>
                <a:lnTo>
                  <a:pt x="92869" y="83439"/>
                </a:lnTo>
                <a:lnTo>
                  <a:pt x="209264" y="83439"/>
                </a:lnTo>
                <a:lnTo>
                  <a:pt x="132683" y="160020"/>
                </a:lnTo>
                <a:lnTo>
                  <a:pt x="156020" y="183547"/>
                </a:lnTo>
                <a:cubicBezTo>
                  <a:pt x="172212" y="199835"/>
                  <a:pt x="193739" y="208788"/>
                  <a:pt x="216694" y="208883"/>
                </a:cubicBezTo>
                <a:cubicBezTo>
                  <a:pt x="216694" y="208883"/>
                  <a:pt x="216694" y="208883"/>
                  <a:pt x="216694" y="208883"/>
                </a:cubicBezTo>
                <a:cubicBezTo>
                  <a:pt x="239649" y="208883"/>
                  <a:pt x="261175" y="199930"/>
                  <a:pt x="277368" y="183642"/>
                </a:cubicBezTo>
                <a:lnTo>
                  <a:pt x="300800" y="160115"/>
                </a:lnTo>
                <a:lnTo>
                  <a:pt x="330327" y="160115"/>
                </a:lnTo>
                <a:lnTo>
                  <a:pt x="413099" y="284321"/>
                </a:lnTo>
                <a:cubicBezTo>
                  <a:pt x="402907" y="298990"/>
                  <a:pt x="387858" y="310229"/>
                  <a:pt x="370427" y="315468"/>
                </a:cubicBezTo>
                <a:close/>
                <a:moveTo>
                  <a:pt x="445961" y="264795"/>
                </a:moveTo>
                <a:lnTo>
                  <a:pt x="350711" y="121920"/>
                </a:lnTo>
                <a:lnTo>
                  <a:pt x="284988" y="121920"/>
                </a:lnTo>
                <a:lnTo>
                  <a:pt x="250412" y="156686"/>
                </a:lnTo>
                <a:cubicBezTo>
                  <a:pt x="241459" y="165735"/>
                  <a:pt x="229458" y="170688"/>
                  <a:pt x="216789" y="170688"/>
                </a:cubicBezTo>
                <a:cubicBezTo>
                  <a:pt x="216789" y="170688"/>
                  <a:pt x="216789" y="170688"/>
                  <a:pt x="216789" y="170688"/>
                </a:cubicBezTo>
                <a:cubicBezTo>
                  <a:pt x="205645" y="170688"/>
                  <a:pt x="195167" y="166878"/>
                  <a:pt x="186690" y="159925"/>
                </a:cubicBezTo>
                <a:lnTo>
                  <a:pt x="274225" y="72390"/>
                </a:lnTo>
                <a:cubicBezTo>
                  <a:pt x="279082" y="67532"/>
                  <a:pt x="285655" y="64770"/>
                  <a:pt x="292608" y="64770"/>
                </a:cubicBezTo>
                <a:lnTo>
                  <a:pt x="374904" y="64770"/>
                </a:lnTo>
                <a:lnTo>
                  <a:pt x="473964" y="106013"/>
                </a:lnTo>
                <a:lnTo>
                  <a:pt x="473964" y="264795"/>
                </a:lnTo>
                <a:lnTo>
                  <a:pt x="445961" y="264795"/>
                </a:lnTo>
                <a:close/>
              </a:path>
            </a:pathLst>
          </a:custGeom>
          <a:solidFill>
            <a:srgbClr val="6F787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18B892D4-3E98-435B-B563-4EAF6F908083}"/>
              </a:ext>
            </a:extLst>
          </p:cNvPr>
          <p:cNvSpPr/>
          <p:nvPr/>
        </p:nvSpPr>
        <p:spPr>
          <a:xfrm>
            <a:off x="11061714" y="4564620"/>
            <a:ext cx="480040" cy="489272"/>
          </a:xfrm>
          <a:custGeom>
            <a:avLst/>
            <a:gdLst>
              <a:gd name="connsiteX0" fmla="*/ 328231 w 495300"/>
              <a:gd name="connsiteY0" fmla="*/ 433007 h 504825"/>
              <a:gd name="connsiteX1" fmla="*/ 175831 w 495300"/>
              <a:gd name="connsiteY1" fmla="*/ 433007 h 504825"/>
              <a:gd name="connsiteX2" fmla="*/ 175831 w 495300"/>
              <a:gd name="connsiteY2" fmla="*/ 349663 h 504825"/>
              <a:gd name="connsiteX3" fmla="*/ 128206 w 495300"/>
              <a:gd name="connsiteY3" fmla="*/ 252127 h 504825"/>
              <a:gd name="connsiteX4" fmla="*/ 252031 w 495300"/>
              <a:gd name="connsiteY4" fmla="*/ 128302 h 504825"/>
              <a:gd name="connsiteX5" fmla="*/ 375856 w 495300"/>
              <a:gd name="connsiteY5" fmla="*/ 252127 h 504825"/>
              <a:gd name="connsiteX6" fmla="*/ 328231 w 495300"/>
              <a:gd name="connsiteY6" fmla="*/ 349663 h 504825"/>
              <a:gd name="connsiteX7" fmla="*/ 328231 w 495300"/>
              <a:gd name="connsiteY7" fmla="*/ 433007 h 504825"/>
              <a:gd name="connsiteX8" fmla="*/ 213931 w 495300"/>
              <a:gd name="connsiteY8" fmla="*/ 394907 h 504825"/>
              <a:gd name="connsiteX9" fmla="*/ 290131 w 495300"/>
              <a:gd name="connsiteY9" fmla="*/ 394907 h 504825"/>
              <a:gd name="connsiteX10" fmla="*/ 290131 w 495300"/>
              <a:gd name="connsiteY10" fmla="*/ 329470 h 504825"/>
              <a:gd name="connsiteX11" fmla="*/ 298799 w 495300"/>
              <a:gd name="connsiteY11" fmla="*/ 323850 h 504825"/>
              <a:gd name="connsiteX12" fmla="*/ 337756 w 495300"/>
              <a:gd name="connsiteY12" fmla="*/ 252032 h 504825"/>
              <a:gd name="connsiteX13" fmla="*/ 252031 w 495300"/>
              <a:gd name="connsiteY13" fmla="*/ 166307 h 504825"/>
              <a:gd name="connsiteX14" fmla="*/ 166306 w 495300"/>
              <a:gd name="connsiteY14" fmla="*/ 252032 h 504825"/>
              <a:gd name="connsiteX15" fmla="*/ 205264 w 495300"/>
              <a:gd name="connsiteY15" fmla="*/ 323850 h 504825"/>
              <a:gd name="connsiteX16" fmla="*/ 213931 w 495300"/>
              <a:gd name="connsiteY16" fmla="*/ 329470 h 504825"/>
              <a:gd name="connsiteX17" fmla="*/ 213931 w 495300"/>
              <a:gd name="connsiteY17" fmla="*/ 394907 h 504825"/>
              <a:gd name="connsiteX18" fmla="*/ 290131 w 495300"/>
              <a:gd name="connsiteY18" fmla="*/ 461582 h 504825"/>
              <a:gd name="connsiteX19" fmla="*/ 213931 w 495300"/>
              <a:gd name="connsiteY19" fmla="*/ 461582 h 504825"/>
              <a:gd name="connsiteX20" fmla="*/ 213931 w 495300"/>
              <a:gd name="connsiteY20" fmla="*/ 499682 h 504825"/>
              <a:gd name="connsiteX21" fmla="*/ 290131 w 495300"/>
              <a:gd name="connsiteY21" fmla="*/ 499682 h 504825"/>
              <a:gd name="connsiteX22" fmla="*/ 290131 w 495300"/>
              <a:gd name="connsiteY22" fmla="*/ 461582 h 504825"/>
              <a:gd name="connsiteX23" fmla="*/ 207645 w 495300"/>
              <a:gd name="connsiteY23" fmla="*/ 95155 h 504825"/>
              <a:gd name="connsiteX24" fmla="*/ 171164 w 495300"/>
              <a:gd name="connsiteY24" fmla="*/ 7144 h 504825"/>
              <a:gd name="connsiteX25" fmla="*/ 135922 w 495300"/>
              <a:gd name="connsiteY25" fmla="*/ 21717 h 504825"/>
              <a:gd name="connsiteX26" fmla="*/ 172402 w 495300"/>
              <a:gd name="connsiteY26" fmla="*/ 109728 h 504825"/>
              <a:gd name="connsiteX27" fmla="*/ 207645 w 495300"/>
              <a:gd name="connsiteY27" fmla="*/ 95155 h 504825"/>
              <a:gd name="connsiteX28" fmla="*/ 109728 w 495300"/>
              <a:gd name="connsiteY28" fmla="*/ 172498 h 504825"/>
              <a:gd name="connsiteX29" fmla="*/ 21717 w 495300"/>
              <a:gd name="connsiteY29" fmla="*/ 136017 h 504825"/>
              <a:gd name="connsiteX30" fmla="*/ 7144 w 495300"/>
              <a:gd name="connsiteY30" fmla="*/ 171260 h 504825"/>
              <a:gd name="connsiteX31" fmla="*/ 95155 w 495300"/>
              <a:gd name="connsiteY31" fmla="*/ 207740 h 504825"/>
              <a:gd name="connsiteX32" fmla="*/ 109728 w 495300"/>
              <a:gd name="connsiteY32" fmla="*/ 172498 h 504825"/>
              <a:gd name="connsiteX33" fmla="*/ 109728 w 495300"/>
              <a:gd name="connsiteY33" fmla="*/ 331661 h 504825"/>
              <a:gd name="connsiteX34" fmla="*/ 95155 w 495300"/>
              <a:gd name="connsiteY34" fmla="*/ 296418 h 504825"/>
              <a:gd name="connsiteX35" fmla="*/ 7144 w 495300"/>
              <a:gd name="connsiteY35" fmla="*/ 332899 h 504825"/>
              <a:gd name="connsiteX36" fmla="*/ 21717 w 495300"/>
              <a:gd name="connsiteY36" fmla="*/ 368141 h 504825"/>
              <a:gd name="connsiteX37" fmla="*/ 109728 w 495300"/>
              <a:gd name="connsiteY37" fmla="*/ 331661 h 504825"/>
              <a:gd name="connsiteX38" fmla="*/ 496919 w 495300"/>
              <a:gd name="connsiteY38" fmla="*/ 332899 h 504825"/>
              <a:gd name="connsiteX39" fmla="*/ 408908 w 495300"/>
              <a:gd name="connsiteY39" fmla="*/ 296418 h 504825"/>
              <a:gd name="connsiteX40" fmla="*/ 394335 w 495300"/>
              <a:gd name="connsiteY40" fmla="*/ 331661 h 504825"/>
              <a:gd name="connsiteX41" fmla="*/ 482346 w 495300"/>
              <a:gd name="connsiteY41" fmla="*/ 368141 h 504825"/>
              <a:gd name="connsiteX42" fmla="*/ 496919 w 495300"/>
              <a:gd name="connsiteY42" fmla="*/ 332899 h 504825"/>
              <a:gd name="connsiteX43" fmla="*/ 496919 w 495300"/>
              <a:gd name="connsiteY43" fmla="*/ 171260 h 504825"/>
              <a:gd name="connsiteX44" fmla="*/ 482346 w 495300"/>
              <a:gd name="connsiteY44" fmla="*/ 136017 h 504825"/>
              <a:gd name="connsiteX45" fmla="*/ 394335 w 495300"/>
              <a:gd name="connsiteY45" fmla="*/ 172498 h 504825"/>
              <a:gd name="connsiteX46" fmla="*/ 408908 w 495300"/>
              <a:gd name="connsiteY46" fmla="*/ 207740 h 504825"/>
              <a:gd name="connsiteX47" fmla="*/ 496919 w 495300"/>
              <a:gd name="connsiteY47" fmla="*/ 171260 h 504825"/>
              <a:gd name="connsiteX48" fmla="*/ 368046 w 495300"/>
              <a:gd name="connsiteY48" fmla="*/ 21812 h 504825"/>
              <a:gd name="connsiteX49" fmla="*/ 332804 w 495300"/>
              <a:gd name="connsiteY49" fmla="*/ 7239 h 504825"/>
              <a:gd name="connsiteX50" fmla="*/ 296323 w 495300"/>
              <a:gd name="connsiteY50" fmla="*/ 95250 h 504825"/>
              <a:gd name="connsiteX51" fmla="*/ 331565 w 495300"/>
              <a:gd name="connsiteY51" fmla="*/ 109823 h 504825"/>
              <a:gd name="connsiteX52" fmla="*/ 368046 w 495300"/>
              <a:gd name="connsiteY52" fmla="*/ 21812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95300" h="504825">
                <a:moveTo>
                  <a:pt x="328231" y="433007"/>
                </a:moveTo>
                <a:lnTo>
                  <a:pt x="175831" y="433007"/>
                </a:lnTo>
                <a:lnTo>
                  <a:pt x="175831" y="349663"/>
                </a:lnTo>
                <a:cubicBezTo>
                  <a:pt x="145828" y="326231"/>
                  <a:pt x="128206" y="290513"/>
                  <a:pt x="128206" y="252127"/>
                </a:cubicBezTo>
                <a:cubicBezTo>
                  <a:pt x="128206" y="183833"/>
                  <a:pt x="183737" y="128302"/>
                  <a:pt x="252031" y="128302"/>
                </a:cubicBezTo>
                <a:cubicBezTo>
                  <a:pt x="320326" y="128302"/>
                  <a:pt x="375856" y="183833"/>
                  <a:pt x="375856" y="252127"/>
                </a:cubicBezTo>
                <a:cubicBezTo>
                  <a:pt x="375856" y="290513"/>
                  <a:pt x="358235" y="326231"/>
                  <a:pt x="328231" y="349663"/>
                </a:cubicBezTo>
                <a:lnTo>
                  <a:pt x="328231" y="433007"/>
                </a:lnTo>
                <a:close/>
                <a:moveTo>
                  <a:pt x="213931" y="394907"/>
                </a:moveTo>
                <a:lnTo>
                  <a:pt x="290131" y="394907"/>
                </a:lnTo>
                <a:lnTo>
                  <a:pt x="290131" y="329470"/>
                </a:lnTo>
                <a:lnTo>
                  <a:pt x="298799" y="323850"/>
                </a:lnTo>
                <a:cubicBezTo>
                  <a:pt x="323183" y="307943"/>
                  <a:pt x="337756" y="281083"/>
                  <a:pt x="337756" y="252032"/>
                </a:cubicBezTo>
                <a:cubicBezTo>
                  <a:pt x="337756" y="204788"/>
                  <a:pt x="299275" y="166307"/>
                  <a:pt x="252031" y="166307"/>
                </a:cubicBezTo>
                <a:cubicBezTo>
                  <a:pt x="204788" y="166307"/>
                  <a:pt x="166306" y="204788"/>
                  <a:pt x="166306" y="252032"/>
                </a:cubicBezTo>
                <a:cubicBezTo>
                  <a:pt x="166306" y="281083"/>
                  <a:pt x="180880" y="307943"/>
                  <a:pt x="205264" y="323850"/>
                </a:cubicBezTo>
                <a:lnTo>
                  <a:pt x="213931" y="329470"/>
                </a:lnTo>
                <a:lnTo>
                  <a:pt x="213931" y="394907"/>
                </a:lnTo>
                <a:close/>
                <a:moveTo>
                  <a:pt x="290131" y="461582"/>
                </a:moveTo>
                <a:lnTo>
                  <a:pt x="213931" y="461582"/>
                </a:lnTo>
                <a:lnTo>
                  <a:pt x="213931" y="499682"/>
                </a:lnTo>
                <a:lnTo>
                  <a:pt x="290131" y="499682"/>
                </a:lnTo>
                <a:lnTo>
                  <a:pt x="290131" y="461582"/>
                </a:lnTo>
                <a:close/>
                <a:moveTo>
                  <a:pt x="207645" y="95155"/>
                </a:moveTo>
                <a:lnTo>
                  <a:pt x="171164" y="7144"/>
                </a:lnTo>
                <a:lnTo>
                  <a:pt x="135922" y="21717"/>
                </a:lnTo>
                <a:lnTo>
                  <a:pt x="172402" y="109728"/>
                </a:lnTo>
                <a:lnTo>
                  <a:pt x="207645" y="95155"/>
                </a:lnTo>
                <a:close/>
                <a:moveTo>
                  <a:pt x="109728" y="172498"/>
                </a:moveTo>
                <a:lnTo>
                  <a:pt x="21717" y="136017"/>
                </a:lnTo>
                <a:lnTo>
                  <a:pt x="7144" y="171260"/>
                </a:lnTo>
                <a:lnTo>
                  <a:pt x="95155" y="207740"/>
                </a:lnTo>
                <a:lnTo>
                  <a:pt x="109728" y="172498"/>
                </a:lnTo>
                <a:close/>
                <a:moveTo>
                  <a:pt x="109728" y="331661"/>
                </a:moveTo>
                <a:lnTo>
                  <a:pt x="95155" y="296418"/>
                </a:lnTo>
                <a:lnTo>
                  <a:pt x="7144" y="332899"/>
                </a:lnTo>
                <a:lnTo>
                  <a:pt x="21717" y="368141"/>
                </a:lnTo>
                <a:lnTo>
                  <a:pt x="109728" y="331661"/>
                </a:lnTo>
                <a:close/>
                <a:moveTo>
                  <a:pt x="496919" y="332899"/>
                </a:moveTo>
                <a:lnTo>
                  <a:pt x="408908" y="296418"/>
                </a:lnTo>
                <a:lnTo>
                  <a:pt x="394335" y="331661"/>
                </a:lnTo>
                <a:lnTo>
                  <a:pt x="482346" y="368141"/>
                </a:lnTo>
                <a:lnTo>
                  <a:pt x="496919" y="332899"/>
                </a:lnTo>
                <a:close/>
                <a:moveTo>
                  <a:pt x="496919" y="171260"/>
                </a:moveTo>
                <a:lnTo>
                  <a:pt x="482346" y="136017"/>
                </a:lnTo>
                <a:lnTo>
                  <a:pt x="394335" y="172498"/>
                </a:lnTo>
                <a:lnTo>
                  <a:pt x="408908" y="207740"/>
                </a:lnTo>
                <a:lnTo>
                  <a:pt x="496919" y="171260"/>
                </a:lnTo>
                <a:close/>
                <a:moveTo>
                  <a:pt x="368046" y="21812"/>
                </a:moveTo>
                <a:lnTo>
                  <a:pt x="332804" y="7239"/>
                </a:lnTo>
                <a:lnTo>
                  <a:pt x="296323" y="95250"/>
                </a:lnTo>
                <a:lnTo>
                  <a:pt x="331565" y="109823"/>
                </a:lnTo>
                <a:lnTo>
                  <a:pt x="368046" y="21812"/>
                </a:ln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6A461E2A-E1DF-434D-A21B-10EECF82A1C9}"/>
              </a:ext>
            </a:extLst>
          </p:cNvPr>
          <p:cNvSpPr/>
          <p:nvPr/>
        </p:nvSpPr>
        <p:spPr>
          <a:xfrm>
            <a:off x="8157080" y="4564620"/>
            <a:ext cx="507735" cy="489272"/>
          </a:xfrm>
          <a:custGeom>
            <a:avLst/>
            <a:gdLst>
              <a:gd name="connsiteX0" fmla="*/ 517450 w 523875"/>
              <a:gd name="connsiteY0" fmla="*/ 191167 h 504825"/>
              <a:gd name="connsiteX1" fmla="*/ 479541 w 523875"/>
              <a:gd name="connsiteY1" fmla="*/ 146780 h 504825"/>
              <a:gd name="connsiteX2" fmla="*/ 421439 w 523875"/>
              <a:gd name="connsiteY2" fmla="*/ 142208 h 504825"/>
              <a:gd name="connsiteX3" fmla="*/ 377052 w 523875"/>
              <a:gd name="connsiteY3" fmla="*/ 180118 h 504825"/>
              <a:gd name="connsiteX4" fmla="*/ 368956 w 523875"/>
              <a:gd name="connsiteY4" fmla="*/ 219361 h 504825"/>
              <a:gd name="connsiteX5" fmla="*/ 329141 w 523875"/>
              <a:gd name="connsiteY5" fmla="*/ 232315 h 504825"/>
              <a:gd name="connsiteX6" fmla="*/ 283231 w 523875"/>
              <a:gd name="connsiteY6" fmla="*/ 198311 h 504825"/>
              <a:gd name="connsiteX7" fmla="*/ 283231 w 523875"/>
              <a:gd name="connsiteY7" fmla="*/ 157067 h 504825"/>
              <a:gd name="connsiteX8" fmla="*/ 340381 w 523875"/>
              <a:gd name="connsiteY8" fmla="*/ 83344 h 504825"/>
              <a:gd name="connsiteX9" fmla="*/ 264181 w 523875"/>
              <a:gd name="connsiteY9" fmla="*/ 7144 h 504825"/>
              <a:gd name="connsiteX10" fmla="*/ 187981 w 523875"/>
              <a:gd name="connsiteY10" fmla="*/ 83344 h 504825"/>
              <a:gd name="connsiteX11" fmla="*/ 245131 w 523875"/>
              <a:gd name="connsiteY11" fmla="*/ 157067 h 504825"/>
              <a:gd name="connsiteX12" fmla="*/ 245131 w 523875"/>
              <a:gd name="connsiteY12" fmla="*/ 198215 h 504825"/>
              <a:gd name="connsiteX13" fmla="*/ 199220 w 523875"/>
              <a:gd name="connsiteY13" fmla="*/ 232220 h 504825"/>
              <a:gd name="connsiteX14" fmla="*/ 159406 w 523875"/>
              <a:gd name="connsiteY14" fmla="*/ 219266 h 504825"/>
              <a:gd name="connsiteX15" fmla="*/ 151310 w 523875"/>
              <a:gd name="connsiteY15" fmla="*/ 180023 h 504825"/>
              <a:gd name="connsiteX16" fmla="*/ 106923 w 523875"/>
              <a:gd name="connsiteY16" fmla="*/ 142113 h 504825"/>
              <a:gd name="connsiteX17" fmla="*/ 48821 w 523875"/>
              <a:gd name="connsiteY17" fmla="*/ 146685 h 504825"/>
              <a:gd name="connsiteX18" fmla="*/ 10911 w 523875"/>
              <a:gd name="connsiteY18" fmla="*/ 191072 h 504825"/>
              <a:gd name="connsiteX19" fmla="*/ 15483 w 523875"/>
              <a:gd name="connsiteY19" fmla="*/ 249174 h 504825"/>
              <a:gd name="connsiteX20" fmla="*/ 59870 w 523875"/>
              <a:gd name="connsiteY20" fmla="*/ 287084 h 504825"/>
              <a:gd name="connsiteX21" fmla="*/ 83492 w 523875"/>
              <a:gd name="connsiteY21" fmla="*/ 290894 h 504825"/>
              <a:gd name="connsiteX22" fmla="*/ 117972 w 523875"/>
              <a:gd name="connsiteY22" fmla="*/ 282512 h 504825"/>
              <a:gd name="connsiteX23" fmla="*/ 147595 w 523875"/>
              <a:gd name="connsiteY23" fmla="*/ 255556 h 504825"/>
              <a:gd name="connsiteX24" fmla="*/ 188076 w 523875"/>
              <a:gd name="connsiteY24" fmla="*/ 268700 h 504825"/>
              <a:gd name="connsiteX25" fmla="*/ 187886 w 523875"/>
              <a:gd name="connsiteY25" fmla="*/ 271939 h 504825"/>
              <a:gd name="connsiteX26" fmla="*/ 205888 w 523875"/>
              <a:gd name="connsiteY26" fmla="*/ 321088 h 504825"/>
              <a:gd name="connsiteX27" fmla="*/ 180266 w 523875"/>
              <a:gd name="connsiteY27" fmla="*/ 356330 h 504825"/>
              <a:gd name="connsiteX28" fmla="*/ 140451 w 523875"/>
              <a:gd name="connsiteY28" fmla="*/ 351949 h 504825"/>
              <a:gd name="connsiteX29" fmla="*/ 90731 w 523875"/>
              <a:gd name="connsiteY29" fmla="*/ 382429 h 504825"/>
              <a:gd name="connsiteX30" fmla="*/ 77110 w 523875"/>
              <a:gd name="connsiteY30" fmla="*/ 439103 h 504825"/>
              <a:gd name="connsiteX31" fmla="*/ 107590 w 523875"/>
              <a:gd name="connsiteY31" fmla="*/ 488823 h 504825"/>
              <a:gd name="connsiteX32" fmla="*/ 152262 w 523875"/>
              <a:gd name="connsiteY32" fmla="*/ 503396 h 504825"/>
              <a:gd name="connsiteX33" fmla="*/ 164359 w 523875"/>
              <a:gd name="connsiteY33" fmla="*/ 502444 h 504825"/>
              <a:gd name="connsiteX34" fmla="*/ 214079 w 523875"/>
              <a:gd name="connsiteY34" fmla="*/ 471964 h 504825"/>
              <a:gd name="connsiteX35" fmla="*/ 227700 w 523875"/>
              <a:gd name="connsiteY35" fmla="*/ 415290 h 504825"/>
              <a:gd name="connsiteX36" fmla="*/ 211222 w 523875"/>
              <a:gd name="connsiteY36" fmla="*/ 378809 h 504825"/>
              <a:gd name="connsiteX37" fmla="*/ 237130 w 523875"/>
              <a:gd name="connsiteY37" fmla="*/ 343186 h 504825"/>
              <a:gd name="connsiteX38" fmla="*/ 264181 w 523875"/>
              <a:gd name="connsiteY38" fmla="*/ 348234 h 504825"/>
              <a:gd name="connsiteX39" fmla="*/ 291232 w 523875"/>
              <a:gd name="connsiteY39" fmla="*/ 343186 h 504825"/>
              <a:gd name="connsiteX40" fmla="*/ 317140 w 523875"/>
              <a:gd name="connsiteY40" fmla="*/ 378809 h 504825"/>
              <a:gd name="connsiteX41" fmla="*/ 300662 w 523875"/>
              <a:gd name="connsiteY41" fmla="*/ 415290 h 504825"/>
              <a:gd name="connsiteX42" fmla="*/ 314282 w 523875"/>
              <a:gd name="connsiteY42" fmla="*/ 471964 h 504825"/>
              <a:gd name="connsiteX43" fmla="*/ 364003 w 523875"/>
              <a:gd name="connsiteY43" fmla="*/ 502444 h 504825"/>
              <a:gd name="connsiteX44" fmla="*/ 376100 w 523875"/>
              <a:gd name="connsiteY44" fmla="*/ 503396 h 504825"/>
              <a:gd name="connsiteX45" fmla="*/ 420677 w 523875"/>
              <a:gd name="connsiteY45" fmla="*/ 488823 h 504825"/>
              <a:gd name="connsiteX46" fmla="*/ 451157 w 523875"/>
              <a:gd name="connsiteY46" fmla="*/ 439103 h 504825"/>
              <a:gd name="connsiteX47" fmla="*/ 437536 w 523875"/>
              <a:gd name="connsiteY47" fmla="*/ 382429 h 504825"/>
              <a:gd name="connsiteX48" fmla="*/ 387815 w 523875"/>
              <a:gd name="connsiteY48" fmla="*/ 351949 h 504825"/>
              <a:gd name="connsiteX49" fmla="*/ 348001 w 523875"/>
              <a:gd name="connsiteY49" fmla="*/ 356330 h 504825"/>
              <a:gd name="connsiteX50" fmla="*/ 322379 w 523875"/>
              <a:gd name="connsiteY50" fmla="*/ 321088 h 504825"/>
              <a:gd name="connsiteX51" fmla="*/ 340381 w 523875"/>
              <a:gd name="connsiteY51" fmla="*/ 271939 h 504825"/>
              <a:gd name="connsiteX52" fmla="*/ 340190 w 523875"/>
              <a:gd name="connsiteY52" fmla="*/ 268700 h 504825"/>
              <a:gd name="connsiteX53" fmla="*/ 380672 w 523875"/>
              <a:gd name="connsiteY53" fmla="*/ 255556 h 504825"/>
              <a:gd name="connsiteX54" fmla="*/ 410294 w 523875"/>
              <a:gd name="connsiteY54" fmla="*/ 282512 h 504825"/>
              <a:gd name="connsiteX55" fmla="*/ 444775 w 523875"/>
              <a:gd name="connsiteY55" fmla="*/ 290894 h 504825"/>
              <a:gd name="connsiteX56" fmla="*/ 468397 w 523875"/>
              <a:gd name="connsiteY56" fmla="*/ 287084 h 504825"/>
              <a:gd name="connsiteX57" fmla="*/ 512783 w 523875"/>
              <a:gd name="connsiteY57" fmla="*/ 249174 h 504825"/>
              <a:gd name="connsiteX58" fmla="*/ 517450 w 523875"/>
              <a:gd name="connsiteY58" fmla="*/ 191167 h 504825"/>
              <a:gd name="connsiteX59" fmla="*/ 119782 w 523875"/>
              <a:gd name="connsiteY59" fmla="*/ 226409 h 504825"/>
              <a:gd name="connsiteX60" fmla="*/ 100827 w 523875"/>
              <a:gd name="connsiteY60" fmla="*/ 248603 h 504825"/>
              <a:gd name="connsiteX61" fmla="*/ 71776 w 523875"/>
              <a:gd name="connsiteY61" fmla="*/ 250889 h 504825"/>
              <a:gd name="connsiteX62" fmla="*/ 49583 w 523875"/>
              <a:gd name="connsiteY62" fmla="*/ 231934 h 504825"/>
              <a:gd name="connsiteX63" fmla="*/ 47297 w 523875"/>
              <a:gd name="connsiteY63" fmla="*/ 202883 h 504825"/>
              <a:gd name="connsiteX64" fmla="*/ 66251 w 523875"/>
              <a:gd name="connsiteY64" fmla="*/ 180689 h 504825"/>
              <a:gd name="connsiteX65" fmla="*/ 83492 w 523875"/>
              <a:gd name="connsiteY65" fmla="*/ 176498 h 504825"/>
              <a:gd name="connsiteX66" fmla="*/ 95303 w 523875"/>
              <a:gd name="connsiteY66" fmla="*/ 178403 h 504825"/>
              <a:gd name="connsiteX67" fmla="*/ 95303 w 523875"/>
              <a:gd name="connsiteY67" fmla="*/ 178403 h 504825"/>
              <a:gd name="connsiteX68" fmla="*/ 117496 w 523875"/>
              <a:gd name="connsiteY68" fmla="*/ 197358 h 504825"/>
              <a:gd name="connsiteX69" fmla="*/ 119782 w 523875"/>
              <a:gd name="connsiteY69" fmla="*/ 226409 h 504825"/>
              <a:gd name="connsiteX70" fmla="*/ 226176 w 523875"/>
              <a:gd name="connsiteY70" fmla="*/ 83344 h 504825"/>
              <a:gd name="connsiteX71" fmla="*/ 264276 w 523875"/>
              <a:gd name="connsiteY71" fmla="*/ 45244 h 504825"/>
              <a:gd name="connsiteX72" fmla="*/ 302376 w 523875"/>
              <a:gd name="connsiteY72" fmla="*/ 83344 h 504825"/>
              <a:gd name="connsiteX73" fmla="*/ 264276 w 523875"/>
              <a:gd name="connsiteY73" fmla="*/ 121444 h 504825"/>
              <a:gd name="connsiteX74" fmla="*/ 226176 w 523875"/>
              <a:gd name="connsiteY74" fmla="*/ 83344 h 504825"/>
              <a:gd name="connsiteX75" fmla="*/ 183409 w 523875"/>
              <a:gd name="connsiteY75" fmla="*/ 449485 h 504825"/>
              <a:gd name="connsiteX76" fmla="*/ 158549 w 523875"/>
              <a:gd name="connsiteY76" fmla="*/ 464725 h 504825"/>
              <a:gd name="connsiteX77" fmla="*/ 130164 w 523875"/>
              <a:gd name="connsiteY77" fmla="*/ 457962 h 504825"/>
              <a:gd name="connsiteX78" fmla="*/ 114924 w 523875"/>
              <a:gd name="connsiteY78" fmla="*/ 433102 h 504825"/>
              <a:gd name="connsiteX79" fmla="*/ 121687 w 523875"/>
              <a:gd name="connsiteY79" fmla="*/ 404717 h 504825"/>
              <a:gd name="connsiteX80" fmla="*/ 146547 w 523875"/>
              <a:gd name="connsiteY80" fmla="*/ 389477 h 504825"/>
              <a:gd name="connsiteX81" fmla="*/ 152548 w 523875"/>
              <a:gd name="connsiteY81" fmla="*/ 389001 h 504825"/>
              <a:gd name="connsiteX82" fmla="*/ 174836 w 523875"/>
              <a:gd name="connsiteY82" fmla="*/ 396335 h 504825"/>
              <a:gd name="connsiteX83" fmla="*/ 190076 w 523875"/>
              <a:gd name="connsiteY83" fmla="*/ 421196 h 504825"/>
              <a:gd name="connsiteX84" fmla="*/ 183409 w 523875"/>
              <a:gd name="connsiteY84" fmla="*/ 449485 h 504825"/>
              <a:gd name="connsiteX85" fmla="*/ 226176 w 523875"/>
              <a:gd name="connsiteY85" fmla="*/ 271939 h 504825"/>
              <a:gd name="connsiteX86" fmla="*/ 264276 w 523875"/>
              <a:gd name="connsiteY86" fmla="*/ 233839 h 504825"/>
              <a:gd name="connsiteX87" fmla="*/ 302376 w 523875"/>
              <a:gd name="connsiteY87" fmla="*/ 271939 h 504825"/>
              <a:gd name="connsiteX88" fmla="*/ 264276 w 523875"/>
              <a:gd name="connsiteY88" fmla="*/ 310039 h 504825"/>
              <a:gd name="connsiteX89" fmla="*/ 226176 w 523875"/>
              <a:gd name="connsiteY89" fmla="*/ 271939 h 504825"/>
              <a:gd name="connsiteX90" fmla="*/ 375814 w 523875"/>
              <a:gd name="connsiteY90" fmla="*/ 389001 h 504825"/>
              <a:gd name="connsiteX91" fmla="*/ 381815 w 523875"/>
              <a:gd name="connsiteY91" fmla="*/ 389477 h 504825"/>
              <a:gd name="connsiteX92" fmla="*/ 406675 w 523875"/>
              <a:gd name="connsiteY92" fmla="*/ 404717 h 504825"/>
              <a:gd name="connsiteX93" fmla="*/ 413438 w 523875"/>
              <a:gd name="connsiteY93" fmla="*/ 433102 h 504825"/>
              <a:gd name="connsiteX94" fmla="*/ 398198 w 523875"/>
              <a:gd name="connsiteY94" fmla="*/ 457962 h 504825"/>
              <a:gd name="connsiteX95" fmla="*/ 369813 w 523875"/>
              <a:gd name="connsiteY95" fmla="*/ 464725 h 504825"/>
              <a:gd name="connsiteX96" fmla="*/ 344953 w 523875"/>
              <a:gd name="connsiteY96" fmla="*/ 449485 h 504825"/>
              <a:gd name="connsiteX97" fmla="*/ 338190 w 523875"/>
              <a:gd name="connsiteY97" fmla="*/ 421100 h 504825"/>
              <a:gd name="connsiteX98" fmla="*/ 353430 w 523875"/>
              <a:gd name="connsiteY98" fmla="*/ 396240 h 504825"/>
              <a:gd name="connsiteX99" fmla="*/ 375814 w 523875"/>
              <a:gd name="connsiteY99" fmla="*/ 389001 h 504825"/>
              <a:gd name="connsiteX100" fmla="*/ 478874 w 523875"/>
              <a:gd name="connsiteY100" fmla="*/ 231934 h 504825"/>
              <a:gd name="connsiteX101" fmla="*/ 456681 w 523875"/>
              <a:gd name="connsiteY101" fmla="*/ 250889 h 504825"/>
              <a:gd name="connsiteX102" fmla="*/ 456681 w 523875"/>
              <a:gd name="connsiteY102" fmla="*/ 250889 h 504825"/>
              <a:gd name="connsiteX103" fmla="*/ 427630 w 523875"/>
              <a:gd name="connsiteY103" fmla="*/ 248603 h 504825"/>
              <a:gd name="connsiteX104" fmla="*/ 408675 w 523875"/>
              <a:gd name="connsiteY104" fmla="*/ 226409 h 504825"/>
              <a:gd name="connsiteX105" fmla="*/ 410961 w 523875"/>
              <a:gd name="connsiteY105" fmla="*/ 197358 h 504825"/>
              <a:gd name="connsiteX106" fmla="*/ 433154 w 523875"/>
              <a:gd name="connsiteY106" fmla="*/ 178403 h 504825"/>
              <a:gd name="connsiteX107" fmla="*/ 444965 w 523875"/>
              <a:gd name="connsiteY107" fmla="*/ 176498 h 504825"/>
              <a:gd name="connsiteX108" fmla="*/ 462206 w 523875"/>
              <a:gd name="connsiteY108" fmla="*/ 180689 h 504825"/>
              <a:gd name="connsiteX109" fmla="*/ 481160 w 523875"/>
              <a:gd name="connsiteY109" fmla="*/ 202883 h 504825"/>
              <a:gd name="connsiteX110" fmla="*/ 478874 w 523875"/>
              <a:gd name="connsiteY110" fmla="*/ 231934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523875" h="504825">
                <a:moveTo>
                  <a:pt x="517450" y="191167"/>
                </a:moveTo>
                <a:cubicBezTo>
                  <a:pt x="511164" y="171831"/>
                  <a:pt x="497734" y="156020"/>
                  <a:pt x="479541" y="146780"/>
                </a:cubicBezTo>
                <a:cubicBezTo>
                  <a:pt x="461444" y="137541"/>
                  <a:pt x="440774" y="135922"/>
                  <a:pt x="421439" y="142208"/>
                </a:cubicBezTo>
                <a:cubicBezTo>
                  <a:pt x="402103" y="148495"/>
                  <a:pt x="386291" y="161925"/>
                  <a:pt x="377052" y="180118"/>
                </a:cubicBezTo>
                <a:cubicBezTo>
                  <a:pt x="370766" y="192405"/>
                  <a:pt x="368099" y="205931"/>
                  <a:pt x="368956" y="219361"/>
                </a:cubicBezTo>
                <a:lnTo>
                  <a:pt x="329141" y="232315"/>
                </a:lnTo>
                <a:cubicBezTo>
                  <a:pt x="318950" y="215646"/>
                  <a:pt x="302567" y="203264"/>
                  <a:pt x="283231" y="198311"/>
                </a:cubicBezTo>
                <a:lnTo>
                  <a:pt x="283231" y="157067"/>
                </a:lnTo>
                <a:cubicBezTo>
                  <a:pt x="315997" y="148590"/>
                  <a:pt x="340381" y="118777"/>
                  <a:pt x="340381" y="83344"/>
                </a:cubicBezTo>
                <a:cubicBezTo>
                  <a:pt x="340381" y="41339"/>
                  <a:pt x="306186" y="7144"/>
                  <a:pt x="264181" y="7144"/>
                </a:cubicBezTo>
                <a:cubicBezTo>
                  <a:pt x="222176" y="7144"/>
                  <a:pt x="187981" y="41339"/>
                  <a:pt x="187981" y="83344"/>
                </a:cubicBezTo>
                <a:cubicBezTo>
                  <a:pt x="187981" y="118777"/>
                  <a:pt x="212365" y="148590"/>
                  <a:pt x="245131" y="157067"/>
                </a:cubicBezTo>
                <a:lnTo>
                  <a:pt x="245131" y="198215"/>
                </a:lnTo>
                <a:cubicBezTo>
                  <a:pt x="225795" y="203264"/>
                  <a:pt x="209412" y="215646"/>
                  <a:pt x="199220" y="232220"/>
                </a:cubicBezTo>
                <a:lnTo>
                  <a:pt x="159406" y="219266"/>
                </a:lnTo>
                <a:cubicBezTo>
                  <a:pt x="160263" y="205835"/>
                  <a:pt x="157596" y="192310"/>
                  <a:pt x="151310" y="180023"/>
                </a:cubicBezTo>
                <a:cubicBezTo>
                  <a:pt x="142070" y="161925"/>
                  <a:pt x="126354" y="148400"/>
                  <a:pt x="106923" y="142113"/>
                </a:cubicBezTo>
                <a:cubicBezTo>
                  <a:pt x="87587" y="135827"/>
                  <a:pt x="66918" y="137446"/>
                  <a:pt x="48821" y="146685"/>
                </a:cubicBezTo>
                <a:cubicBezTo>
                  <a:pt x="30723" y="155924"/>
                  <a:pt x="17198" y="171641"/>
                  <a:pt x="10911" y="191072"/>
                </a:cubicBezTo>
                <a:cubicBezTo>
                  <a:pt x="4625" y="210407"/>
                  <a:pt x="6244" y="231077"/>
                  <a:pt x="15483" y="249174"/>
                </a:cubicBezTo>
                <a:cubicBezTo>
                  <a:pt x="24722" y="267272"/>
                  <a:pt x="40439" y="280797"/>
                  <a:pt x="59870" y="287084"/>
                </a:cubicBezTo>
                <a:cubicBezTo>
                  <a:pt x="67585" y="289560"/>
                  <a:pt x="75586" y="290894"/>
                  <a:pt x="83492" y="290894"/>
                </a:cubicBezTo>
                <a:cubicBezTo>
                  <a:pt x="95398" y="290894"/>
                  <a:pt x="107114" y="288131"/>
                  <a:pt x="117972" y="282512"/>
                </a:cubicBezTo>
                <a:cubicBezTo>
                  <a:pt x="130259" y="276225"/>
                  <a:pt x="140356" y="266891"/>
                  <a:pt x="147595" y="255556"/>
                </a:cubicBezTo>
                <a:lnTo>
                  <a:pt x="188076" y="268700"/>
                </a:lnTo>
                <a:cubicBezTo>
                  <a:pt x="188076" y="269748"/>
                  <a:pt x="187886" y="270796"/>
                  <a:pt x="187886" y="271939"/>
                </a:cubicBezTo>
                <a:cubicBezTo>
                  <a:pt x="187886" y="290608"/>
                  <a:pt x="194648" y="307753"/>
                  <a:pt x="205888" y="321088"/>
                </a:cubicBezTo>
                <a:lnTo>
                  <a:pt x="180266" y="356330"/>
                </a:lnTo>
                <a:cubicBezTo>
                  <a:pt x="167693" y="351377"/>
                  <a:pt x="154072" y="349758"/>
                  <a:pt x="140451" y="351949"/>
                </a:cubicBezTo>
                <a:cubicBezTo>
                  <a:pt x="120353" y="355092"/>
                  <a:pt x="102732" y="365951"/>
                  <a:pt x="90731" y="382429"/>
                </a:cubicBezTo>
                <a:cubicBezTo>
                  <a:pt x="78729" y="398907"/>
                  <a:pt x="73967" y="419005"/>
                  <a:pt x="77110" y="439103"/>
                </a:cubicBezTo>
                <a:cubicBezTo>
                  <a:pt x="80253" y="459200"/>
                  <a:pt x="91112" y="476822"/>
                  <a:pt x="107590" y="488823"/>
                </a:cubicBezTo>
                <a:cubicBezTo>
                  <a:pt x="120734" y="498348"/>
                  <a:pt x="136260" y="503396"/>
                  <a:pt x="152262" y="503396"/>
                </a:cubicBezTo>
                <a:cubicBezTo>
                  <a:pt x="156263" y="503396"/>
                  <a:pt x="160263" y="503111"/>
                  <a:pt x="164359" y="502444"/>
                </a:cubicBezTo>
                <a:cubicBezTo>
                  <a:pt x="184457" y="499301"/>
                  <a:pt x="202078" y="488442"/>
                  <a:pt x="214079" y="471964"/>
                </a:cubicBezTo>
                <a:cubicBezTo>
                  <a:pt x="226081" y="455486"/>
                  <a:pt x="230843" y="435388"/>
                  <a:pt x="227700" y="415290"/>
                </a:cubicBezTo>
                <a:cubicBezTo>
                  <a:pt x="225509" y="401669"/>
                  <a:pt x="219794" y="389192"/>
                  <a:pt x="211222" y="378809"/>
                </a:cubicBezTo>
                <a:lnTo>
                  <a:pt x="237130" y="343186"/>
                </a:lnTo>
                <a:cubicBezTo>
                  <a:pt x="245512" y="346424"/>
                  <a:pt x="254656" y="348234"/>
                  <a:pt x="264181" y="348234"/>
                </a:cubicBezTo>
                <a:cubicBezTo>
                  <a:pt x="273706" y="348234"/>
                  <a:pt x="282850" y="346424"/>
                  <a:pt x="291232" y="343186"/>
                </a:cubicBezTo>
                <a:lnTo>
                  <a:pt x="317140" y="378809"/>
                </a:lnTo>
                <a:cubicBezTo>
                  <a:pt x="308567" y="389192"/>
                  <a:pt x="302757" y="401669"/>
                  <a:pt x="300662" y="415290"/>
                </a:cubicBezTo>
                <a:cubicBezTo>
                  <a:pt x="297518" y="435388"/>
                  <a:pt x="302281" y="455581"/>
                  <a:pt x="314282" y="471964"/>
                </a:cubicBezTo>
                <a:cubicBezTo>
                  <a:pt x="326284" y="488442"/>
                  <a:pt x="343905" y="499205"/>
                  <a:pt x="364003" y="502444"/>
                </a:cubicBezTo>
                <a:cubicBezTo>
                  <a:pt x="368003" y="503111"/>
                  <a:pt x="372099" y="503396"/>
                  <a:pt x="376100" y="503396"/>
                </a:cubicBezTo>
                <a:cubicBezTo>
                  <a:pt x="392102" y="503396"/>
                  <a:pt x="407532" y="498348"/>
                  <a:pt x="420677" y="488823"/>
                </a:cubicBezTo>
                <a:cubicBezTo>
                  <a:pt x="437155" y="476822"/>
                  <a:pt x="448013" y="459200"/>
                  <a:pt x="451157" y="439103"/>
                </a:cubicBezTo>
                <a:cubicBezTo>
                  <a:pt x="454300" y="419005"/>
                  <a:pt x="449537" y="398812"/>
                  <a:pt x="437536" y="382429"/>
                </a:cubicBezTo>
                <a:cubicBezTo>
                  <a:pt x="425534" y="365951"/>
                  <a:pt x="407913" y="355187"/>
                  <a:pt x="387815" y="351949"/>
                </a:cubicBezTo>
                <a:cubicBezTo>
                  <a:pt x="374195" y="349758"/>
                  <a:pt x="360479" y="351377"/>
                  <a:pt x="348001" y="356330"/>
                </a:cubicBezTo>
                <a:lnTo>
                  <a:pt x="322379" y="321088"/>
                </a:lnTo>
                <a:cubicBezTo>
                  <a:pt x="333618" y="307848"/>
                  <a:pt x="340381" y="290703"/>
                  <a:pt x="340381" y="271939"/>
                </a:cubicBezTo>
                <a:cubicBezTo>
                  <a:pt x="340381" y="270891"/>
                  <a:pt x="340286" y="269843"/>
                  <a:pt x="340190" y="268700"/>
                </a:cubicBezTo>
                <a:lnTo>
                  <a:pt x="380672" y="255556"/>
                </a:lnTo>
                <a:cubicBezTo>
                  <a:pt x="387911" y="266891"/>
                  <a:pt x="398007" y="276225"/>
                  <a:pt x="410294" y="282512"/>
                </a:cubicBezTo>
                <a:cubicBezTo>
                  <a:pt x="421153" y="288036"/>
                  <a:pt x="432964" y="290894"/>
                  <a:pt x="444775" y="290894"/>
                </a:cubicBezTo>
                <a:cubicBezTo>
                  <a:pt x="452681" y="290894"/>
                  <a:pt x="460682" y="289655"/>
                  <a:pt x="468397" y="287084"/>
                </a:cubicBezTo>
                <a:cubicBezTo>
                  <a:pt x="487733" y="280797"/>
                  <a:pt x="503544" y="267367"/>
                  <a:pt x="512783" y="249174"/>
                </a:cubicBezTo>
                <a:cubicBezTo>
                  <a:pt x="522118" y="231172"/>
                  <a:pt x="523737" y="210503"/>
                  <a:pt x="517450" y="191167"/>
                </a:cubicBezTo>
                <a:close/>
                <a:moveTo>
                  <a:pt x="119782" y="226409"/>
                </a:moveTo>
                <a:cubicBezTo>
                  <a:pt x="116639" y="236125"/>
                  <a:pt x="109876" y="243935"/>
                  <a:pt x="100827" y="248603"/>
                </a:cubicBezTo>
                <a:cubicBezTo>
                  <a:pt x="91778" y="253175"/>
                  <a:pt x="81396" y="254032"/>
                  <a:pt x="71776" y="250889"/>
                </a:cubicBezTo>
                <a:cubicBezTo>
                  <a:pt x="62060" y="247745"/>
                  <a:pt x="54250" y="240983"/>
                  <a:pt x="49583" y="231934"/>
                </a:cubicBezTo>
                <a:cubicBezTo>
                  <a:pt x="45011" y="222885"/>
                  <a:pt x="44153" y="212503"/>
                  <a:pt x="47297" y="202883"/>
                </a:cubicBezTo>
                <a:cubicBezTo>
                  <a:pt x="50440" y="193167"/>
                  <a:pt x="57203" y="185357"/>
                  <a:pt x="66251" y="180689"/>
                </a:cubicBezTo>
                <a:cubicBezTo>
                  <a:pt x="71681" y="177927"/>
                  <a:pt x="77586" y="176498"/>
                  <a:pt x="83492" y="176498"/>
                </a:cubicBezTo>
                <a:cubicBezTo>
                  <a:pt x="87492" y="176498"/>
                  <a:pt x="91397" y="177165"/>
                  <a:pt x="95303" y="178403"/>
                </a:cubicBezTo>
                <a:lnTo>
                  <a:pt x="95303" y="178403"/>
                </a:lnTo>
                <a:cubicBezTo>
                  <a:pt x="105018" y="181547"/>
                  <a:pt x="112829" y="188309"/>
                  <a:pt x="117496" y="197358"/>
                </a:cubicBezTo>
                <a:cubicBezTo>
                  <a:pt x="122068" y="206407"/>
                  <a:pt x="122925" y="216789"/>
                  <a:pt x="119782" y="226409"/>
                </a:cubicBezTo>
                <a:close/>
                <a:moveTo>
                  <a:pt x="226176" y="83344"/>
                </a:moveTo>
                <a:cubicBezTo>
                  <a:pt x="226176" y="62294"/>
                  <a:pt x="243226" y="45244"/>
                  <a:pt x="264276" y="45244"/>
                </a:cubicBezTo>
                <a:cubicBezTo>
                  <a:pt x="285326" y="45244"/>
                  <a:pt x="302376" y="62294"/>
                  <a:pt x="302376" y="83344"/>
                </a:cubicBezTo>
                <a:cubicBezTo>
                  <a:pt x="302376" y="104394"/>
                  <a:pt x="285326" y="121444"/>
                  <a:pt x="264276" y="121444"/>
                </a:cubicBezTo>
                <a:cubicBezTo>
                  <a:pt x="243226" y="121444"/>
                  <a:pt x="226176" y="104394"/>
                  <a:pt x="226176" y="83344"/>
                </a:cubicBezTo>
                <a:close/>
                <a:moveTo>
                  <a:pt x="183409" y="449485"/>
                </a:moveTo>
                <a:cubicBezTo>
                  <a:pt x="177408" y="457676"/>
                  <a:pt x="168645" y="463106"/>
                  <a:pt x="158549" y="464725"/>
                </a:cubicBezTo>
                <a:cubicBezTo>
                  <a:pt x="148547" y="466344"/>
                  <a:pt x="138451" y="463868"/>
                  <a:pt x="130164" y="457962"/>
                </a:cubicBezTo>
                <a:cubicBezTo>
                  <a:pt x="121973" y="451961"/>
                  <a:pt x="116543" y="443198"/>
                  <a:pt x="114924" y="433102"/>
                </a:cubicBezTo>
                <a:cubicBezTo>
                  <a:pt x="113305" y="423101"/>
                  <a:pt x="115781" y="413004"/>
                  <a:pt x="121687" y="404717"/>
                </a:cubicBezTo>
                <a:cubicBezTo>
                  <a:pt x="127688" y="396526"/>
                  <a:pt x="136546" y="391097"/>
                  <a:pt x="146547" y="389477"/>
                </a:cubicBezTo>
                <a:cubicBezTo>
                  <a:pt x="148547" y="389192"/>
                  <a:pt x="150548" y="389001"/>
                  <a:pt x="152548" y="389001"/>
                </a:cubicBezTo>
                <a:cubicBezTo>
                  <a:pt x="160549" y="389001"/>
                  <a:pt x="168264" y="391478"/>
                  <a:pt x="174836" y="396335"/>
                </a:cubicBezTo>
                <a:cubicBezTo>
                  <a:pt x="183028" y="402336"/>
                  <a:pt x="188457" y="411099"/>
                  <a:pt x="190076" y="421196"/>
                </a:cubicBezTo>
                <a:cubicBezTo>
                  <a:pt x="191791" y="431197"/>
                  <a:pt x="189314" y="441293"/>
                  <a:pt x="183409" y="449485"/>
                </a:cubicBezTo>
                <a:close/>
                <a:moveTo>
                  <a:pt x="226176" y="271939"/>
                </a:moveTo>
                <a:cubicBezTo>
                  <a:pt x="226176" y="250889"/>
                  <a:pt x="243226" y="233839"/>
                  <a:pt x="264276" y="233839"/>
                </a:cubicBezTo>
                <a:cubicBezTo>
                  <a:pt x="285326" y="233839"/>
                  <a:pt x="302376" y="250889"/>
                  <a:pt x="302376" y="271939"/>
                </a:cubicBezTo>
                <a:cubicBezTo>
                  <a:pt x="302376" y="292989"/>
                  <a:pt x="285326" y="310039"/>
                  <a:pt x="264276" y="310039"/>
                </a:cubicBezTo>
                <a:cubicBezTo>
                  <a:pt x="243226" y="310039"/>
                  <a:pt x="226176" y="292894"/>
                  <a:pt x="226176" y="271939"/>
                </a:cubicBezTo>
                <a:close/>
                <a:moveTo>
                  <a:pt x="375814" y="389001"/>
                </a:moveTo>
                <a:cubicBezTo>
                  <a:pt x="377814" y="389001"/>
                  <a:pt x="379814" y="389192"/>
                  <a:pt x="381815" y="389477"/>
                </a:cubicBezTo>
                <a:cubicBezTo>
                  <a:pt x="391911" y="391097"/>
                  <a:pt x="400674" y="396526"/>
                  <a:pt x="406675" y="404717"/>
                </a:cubicBezTo>
                <a:cubicBezTo>
                  <a:pt x="412676" y="412909"/>
                  <a:pt x="415057" y="423005"/>
                  <a:pt x="413438" y="433102"/>
                </a:cubicBezTo>
                <a:cubicBezTo>
                  <a:pt x="411818" y="443198"/>
                  <a:pt x="406389" y="451961"/>
                  <a:pt x="398198" y="457962"/>
                </a:cubicBezTo>
                <a:cubicBezTo>
                  <a:pt x="390006" y="463963"/>
                  <a:pt x="379910" y="466344"/>
                  <a:pt x="369813" y="464725"/>
                </a:cubicBezTo>
                <a:cubicBezTo>
                  <a:pt x="359717" y="463106"/>
                  <a:pt x="350954" y="457676"/>
                  <a:pt x="344953" y="449485"/>
                </a:cubicBezTo>
                <a:cubicBezTo>
                  <a:pt x="338952" y="441293"/>
                  <a:pt x="336571" y="431197"/>
                  <a:pt x="338190" y="421100"/>
                </a:cubicBezTo>
                <a:cubicBezTo>
                  <a:pt x="339809" y="411004"/>
                  <a:pt x="345143" y="402241"/>
                  <a:pt x="353430" y="396240"/>
                </a:cubicBezTo>
                <a:cubicBezTo>
                  <a:pt x="360098" y="391573"/>
                  <a:pt x="367908" y="389001"/>
                  <a:pt x="375814" y="389001"/>
                </a:cubicBezTo>
                <a:close/>
                <a:moveTo>
                  <a:pt x="478874" y="231934"/>
                </a:moveTo>
                <a:cubicBezTo>
                  <a:pt x="474207" y="240983"/>
                  <a:pt x="466397" y="247745"/>
                  <a:pt x="456681" y="250889"/>
                </a:cubicBezTo>
                <a:lnTo>
                  <a:pt x="456681" y="250889"/>
                </a:lnTo>
                <a:cubicBezTo>
                  <a:pt x="446966" y="254032"/>
                  <a:pt x="436679" y="253270"/>
                  <a:pt x="427630" y="248603"/>
                </a:cubicBezTo>
                <a:cubicBezTo>
                  <a:pt x="418581" y="243935"/>
                  <a:pt x="411818" y="236125"/>
                  <a:pt x="408675" y="226409"/>
                </a:cubicBezTo>
                <a:cubicBezTo>
                  <a:pt x="405532" y="216694"/>
                  <a:pt x="406294" y="206407"/>
                  <a:pt x="410961" y="197358"/>
                </a:cubicBezTo>
                <a:cubicBezTo>
                  <a:pt x="415533" y="188309"/>
                  <a:pt x="423439" y="181547"/>
                  <a:pt x="433154" y="178403"/>
                </a:cubicBezTo>
                <a:cubicBezTo>
                  <a:pt x="437060" y="177165"/>
                  <a:pt x="440965" y="176498"/>
                  <a:pt x="444965" y="176498"/>
                </a:cubicBezTo>
                <a:cubicBezTo>
                  <a:pt x="450871" y="176498"/>
                  <a:pt x="456776" y="177927"/>
                  <a:pt x="462206" y="180689"/>
                </a:cubicBezTo>
                <a:cubicBezTo>
                  <a:pt x="471254" y="185357"/>
                  <a:pt x="478017" y="193167"/>
                  <a:pt x="481160" y="202883"/>
                </a:cubicBezTo>
                <a:cubicBezTo>
                  <a:pt x="484304" y="212598"/>
                  <a:pt x="483542" y="222885"/>
                  <a:pt x="478874" y="231934"/>
                </a:cubicBezTo>
                <a:close/>
              </a:path>
            </a:pathLst>
          </a:custGeom>
          <a:solidFill>
            <a:srgbClr val="00285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61152E61-93C6-4C3D-A2FD-93201705DC0B}"/>
              </a:ext>
            </a:extLst>
          </p:cNvPr>
          <p:cNvSpPr/>
          <p:nvPr/>
        </p:nvSpPr>
        <p:spPr>
          <a:xfrm>
            <a:off x="7060952" y="4624625"/>
            <a:ext cx="526198" cy="369262"/>
          </a:xfrm>
          <a:custGeom>
            <a:avLst/>
            <a:gdLst>
              <a:gd name="connsiteX0" fmla="*/ 540544 w 542925"/>
              <a:gd name="connsiteY0" fmla="*/ 154019 h 381000"/>
              <a:gd name="connsiteX1" fmla="*/ 329089 w 542925"/>
              <a:gd name="connsiteY1" fmla="*/ 154019 h 381000"/>
              <a:gd name="connsiteX2" fmla="*/ 411194 w 542925"/>
              <a:gd name="connsiteY2" fmla="*/ 236887 h 381000"/>
              <a:gd name="connsiteX3" fmla="*/ 384143 w 542925"/>
              <a:gd name="connsiteY3" fmla="*/ 263652 h 381000"/>
              <a:gd name="connsiteX4" fmla="*/ 256508 w 542925"/>
              <a:gd name="connsiteY4" fmla="*/ 134874 h 381000"/>
              <a:gd name="connsiteX5" fmla="*/ 384239 w 542925"/>
              <a:gd name="connsiteY5" fmla="*/ 7144 h 381000"/>
              <a:gd name="connsiteX6" fmla="*/ 411194 w 542925"/>
              <a:gd name="connsiteY6" fmla="*/ 34100 h 381000"/>
              <a:gd name="connsiteX7" fmla="*/ 329375 w 542925"/>
              <a:gd name="connsiteY7" fmla="*/ 115919 h 381000"/>
              <a:gd name="connsiteX8" fmla="*/ 540544 w 542925"/>
              <a:gd name="connsiteY8" fmla="*/ 115919 h 381000"/>
              <a:gd name="connsiteX9" fmla="*/ 540544 w 542925"/>
              <a:gd name="connsiteY9" fmla="*/ 154019 h 381000"/>
              <a:gd name="connsiteX10" fmla="*/ 136493 w 542925"/>
              <a:gd name="connsiteY10" fmla="*/ 147352 h 381000"/>
              <a:gd name="connsiteX11" fmla="*/ 218599 w 542925"/>
              <a:gd name="connsiteY11" fmla="*/ 230219 h 381000"/>
              <a:gd name="connsiteX12" fmla="*/ 7144 w 542925"/>
              <a:gd name="connsiteY12" fmla="*/ 230219 h 381000"/>
              <a:gd name="connsiteX13" fmla="*/ 7144 w 542925"/>
              <a:gd name="connsiteY13" fmla="*/ 268319 h 381000"/>
              <a:gd name="connsiteX14" fmla="*/ 218313 w 542925"/>
              <a:gd name="connsiteY14" fmla="*/ 268319 h 381000"/>
              <a:gd name="connsiteX15" fmla="*/ 136493 w 542925"/>
              <a:gd name="connsiteY15" fmla="*/ 350139 h 381000"/>
              <a:gd name="connsiteX16" fmla="*/ 163449 w 542925"/>
              <a:gd name="connsiteY16" fmla="*/ 377095 h 381000"/>
              <a:gd name="connsiteX17" fmla="*/ 291179 w 542925"/>
              <a:gd name="connsiteY17" fmla="*/ 249364 h 381000"/>
              <a:gd name="connsiteX18" fmla="*/ 163544 w 542925"/>
              <a:gd name="connsiteY18" fmla="*/ 120491 h 381000"/>
              <a:gd name="connsiteX19" fmla="*/ 136493 w 542925"/>
              <a:gd name="connsiteY19" fmla="*/ 147352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925" h="381000">
                <a:moveTo>
                  <a:pt x="540544" y="154019"/>
                </a:moveTo>
                <a:lnTo>
                  <a:pt x="329089" y="154019"/>
                </a:lnTo>
                <a:lnTo>
                  <a:pt x="411194" y="236887"/>
                </a:lnTo>
                <a:lnTo>
                  <a:pt x="384143" y="263652"/>
                </a:lnTo>
                <a:lnTo>
                  <a:pt x="256508" y="134874"/>
                </a:lnTo>
                <a:lnTo>
                  <a:pt x="384239" y="7144"/>
                </a:lnTo>
                <a:lnTo>
                  <a:pt x="411194" y="34100"/>
                </a:lnTo>
                <a:lnTo>
                  <a:pt x="329375" y="115919"/>
                </a:lnTo>
                <a:lnTo>
                  <a:pt x="540544" y="115919"/>
                </a:lnTo>
                <a:lnTo>
                  <a:pt x="540544" y="154019"/>
                </a:lnTo>
                <a:close/>
                <a:moveTo>
                  <a:pt x="136493" y="147352"/>
                </a:moveTo>
                <a:lnTo>
                  <a:pt x="218599" y="230219"/>
                </a:lnTo>
                <a:lnTo>
                  <a:pt x="7144" y="230219"/>
                </a:lnTo>
                <a:lnTo>
                  <a:pt x="7144" y="268319"/>
                </a:lnTo>
                <a:lnTo>
                  <a:pt x="218313" y="268319"/>
                </a:lnTo>
                <a:lnTo>
                  <a:pt x="136493" y="350139"/>
                </a:lnTo>
                <a:lnTo>
                  <a:pt x="163449" y="377095"/>
                </a:lnTo>
                <a:lnTo>
                  <a:pt x="291179" y="249364"/>
                </a:lnTo>
                <a:lnTo>
                  <a:pt x="163544" y="120491"/>
                </a:lnTo>
                <a:lnTo>
                  <a:pt x="136493" y="147352"/>
                </a:lnTo>
                <a:close/>
              </a:path>
            </a:pathLst>
          </a:custGeom>
          <a:solidFill>
            <a:srgbClr val="009AD7"/>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38221424-6BD6-403E-B875-DD3E255417D2}"/>
              </a:ext>
            </a:extLst>
          </p:cNvPr>
          <p:cNvSpPr/>
          <p:nvPr/>
        </p:nvSpPr>
        <p:spPr>
          <a:xfrm>
            <a:off x="815026" y="4546157"/>
            <a:ext cx="526198" cy="526198"/>
          </a:xfrm>
          <a:custGeom>
            <a:avLst/>
            <a:gdLst>
              <a:gd name="connsiteX0" fmla="*/ 273844 w 542925"/>
              <a:gd name="connsiteY0" fmla="*/ 7144 h 542925"/>
              <a:gd name="connsiteX1" fmla="*/ 7144 w 542925"/>
              <a:gd name="connsiteY1" fmla="*/ 273844 h 542925"/>
              <a:gd name="connsiteX2" fmla="*/ 273844 w 542925"/>
              <a:gd name="connsiteY2" fmla="*/ 540544 h 542925"/>
              <a:gd name="connsiteX3" fmla="*/ 540544 w 542925"/>
              <a:gd name="connsiteY3" fmla="*/ 273844 h 542925"/>
              <a:gd name="connsiteX4" fmla="*/ 273844 w 542925"/>
              <a:gd name="connsiteY4" fmla="*/ 7144 h 542925"/>
              <a:gd name="connsiteX5" fmla="*/ 273844 w 542925"/>
              <a:gd name="connsiteY5" fmla="*/ 502444 h 542925"/>
              <a:gd name="connsiteX6" fmla="*/ 45244 w 542925"/>
              <a:gd name="connsiteY6" fmla="*/ 273844 h 542925"/>
              <a:gd name="connsiteX7" fmla="*/ 273844 w 542925"/>
              <a:gd name="connsiteY7" fmla="*/ 45244 h 542925"/>
              <a:gd name="connsiteX8" fmla="*/ 502444 w 542925"/>
              <a:gd name="connsiteY8" fmla="*/ 273844 h 542925"/>
              <a:gd name="connsiteX9" fmla="*/ 273844 w 542925"/>
              <a:gd name="connsiteY9" fmla="*/ 502444 h 542925"/>
              <a:gd name="connsiteX10" fmla="*/ 401574 w 542925"/>
              <a:gd name="connsiteY10" fmla="*/ 172974 h 542925"/>
              <a:gd name="connsiteX11" fmla="*/ 300800 w 542925"/>
              <a:gd name="connsiteY11" fmla="*/ 273844 h 542925"/>
              <a:gd name="connsiteX12" fmla="*/ 401669 w 542925"/>
              <a:gd name="connsiteY12" fmla="*/ 374714 h 542925"/>
              <a:gd name="connsiteX13" fmla="*/ 374713 w 542925"/>
              <a:gd name="connsiteY13" fmla="*/ 401669 h 542925"/>
              <a:gd name="connsiteX14" fmla="*/ 273844 w 542925"/>
              <a:gd name="connsiteY14" fmla="*/ 300800 h 542925"/>
              <a:gd name="connsiteX15" fmla="*/ 172974 w 542925"/>
              <a:gd name="connsiteY15" fmla="*/ 401669 h 542925"/>
              <a:gd name="connsiteX16" fmla="*/ 146018 w 542925"/>
              <a:gd name="connsiteY16" fmla="*/ 374714 h 542925"/>
              <a:gd name="connsiteX17" fmla="*/ 246888 w 542925"/>
              <a:gd name="connsiteY17" fmla="*/ 273844 h 542925"/>
              <a:gd name="connsiteX18" fmla="*/ 146018 w 542925"/>
              <a:gd name="connsiteY18" fmla="*/ 172974 h 542925"/>
              <a:gd name="connsiteX19" fmla="*/ 172974 w 542925"/>
              <a:gd name="connsiteY19" fmla="*/ 146018 h 542925"/>
              <a:gd name="connsiteX20" fmla="*/ 273844 w 542925"/>
              <a:gd name="connsiteY20" fmla="*/ 246888 h 542925"/>
              <a:gd name="connsiteX21" fmla="*/ 374713 w 542925"/>
              <a:gd name="connsiteY21" fmla="*/ 146018 h 542925"/>
              <a:gd name="connsiteX22" fmla="*/ 401574 w 542925"/>
              <a:gd name="connsiteY22" fmla="*/ 17297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42925" h="542925">
                <a:moveTo>
                  <a:pt x="273844" y="7144"/>
                </a:moveTo>
                <a:cubicBezTo>
                  <a:pt x="126587" y="7144"/>
                  <a:pt x="7144" y="126587"/>
                  <a:pt x="7144" y="273844"/>
                </a:cubicBezTo>
                <a:cubicBezTo>
                  <a:pt x="7144" y="421100"/>
                  <a:pt x="126587" y="540544"/>
                  <a:pt x="273844" y="540544"/>
                </a:cubicBezTo>
                <a:cubicBezTo>
                  <a:pt x="421100" y="540544"/>
                  <a:pt x="540544" y="421100"/>
                  <a:pt x="540544" y="273844"/>
                </a:cubicBezTo>
                <a:cubicBezTo>
                  <a:pt x="540544" y="126587"/>
                  <a:pt x="421100" y="7144"/>
                  <a:pt x="273844" y="7144"/>
                </a:cubicBezTo>
                <a:close/>
                <a:moveTo>
                  <a:pt x="273844" y="502444"/>
                </a:moveTo>
                <a:cubicBezTo>
                  <a:pt x="147828" y="502444"/>
                  <a:pt x="45244" y="399860"/>
                  <a:pt x="45244" y="273844"/>
                </a:cubicBezTo>
                <a:cubicBezTo>
                  <a:pt x="45244" y="147828"/>
                  <a:pt x="147828" y="45244"/>
                  <a:pt x="273844" y="45244"/>
                </a:cubicBezTo>
                <a:cubicBezTo>
                  <a:pt x="399859" y="45244"/>
                  <a:pt x="502444" y="147828"/>
                  <a:pt x="502444" y="273844"/>
                </a:cubicBezTo>
                <a:cubicBezTo>
                  <a:pt x="502444" y="399860"/>
                  <a:pt x="399859" y="502444"/>
                  <a:pt x="273844" y="502444"/>
                </a:cubicBezTo>
                <a:close/>
                <a:moveTo>
                  <a:pt x="401574" y="172974"/>
                </a:moveTo>
                <a:lnTo>
                  <a:pt x="300800" y="273844"/>
                </a:lnTo>
                <a:lnTo>
                  <a:pt x="401669" y="374714"/>
                </a:lnTo>
                <a:lnTo>
                  <a:pt x="374713" y="401669"/>
                </a:lnTo>
                <a:lnTo>
                  <a:pt x="273844" y="300800"/>
                </a:lnTo>
                <a:lnTo>
                  <a:pt x="172974" y="401669"/>
                </a:lnTo>
                <a:lnTo>
                  <a:pt x="146018" y="374714"/>
                </a:lnTo>
                <a:lnTo>
                  <a:pt x="246888" y="273844"/>
                </a:lnTo>
                <a:lnTo>
                  <a:pt x="146018" y="172974"/>
                </a:lnTo>
                <a:lnTo>
                  <a:pt x="172974" y="146018"/>
                </a:lnTo>
                <a:lnTo>
                  <a:pt x="273844" y="246888"/>
                </a:lnTo>
                <a:lnTo>
                  <a:pt x="374713" y="146018"/>
                </a:lnTo>
                <a:lnTo>
                  <a:pt x="401574" y="172974"/>
                </a:lnTo>
                <a:close/>
              </a:path>
            </a:pathLst>
          </a:custGeom>
          <a:solidFill>
            <a:srgbClr val="6F7878"/>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41" name="Rounded Rectangle 1">
            <a:extLst>
              <a:ext uri="{FF2B5EF4-FFF2-40B4-BE49-F238E27FC236}">
                <a16:creationId xmlns:a16="http://schemas.microsoft.com/office/drawing/2014/main" id="{D5E9C275-8C7A-4271-AE26-50D24D3BB4A6}"/>
              </a:ext>
            </a:extLst>
          </p:cNvPr>
          <p:cNvSpPr/>
          <p:nvPr/>
        </p:nvSpPr>
        <p:spPr>
          <a:xfrm>
            <a:off x="4700559" y="1735126"/>
            <a:ext cx="5653800" cy="4624071"/>
          </a:xfrm>
          <a:prstGeom prst="rect">
            <a:avLst/>
          </a:prstGeom>
          <a:noFill/>
          <a:ln w="25400">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42" name="Text Box 91">
            <a:extLst>
              <a:ext uri="{FF2B5EF4-FFF2-40B4-BE49-F238E27FC236}">
                <a16:creationId xmlns:a16="http://schemas.microsoft.com/office/drawing/2014/main" id="{CAADFBE0-55C8-371C-62EC-21EF21E84E4B}"/>
              </a:ext>
            </a:extLst>
          </p:cNvPr>
          <p:cNvSpPr txBox="1">
            <a:spLocks noChangeAspect="1" noChangeArrowheads="1"/>
          </p:cNvSpPr>
          <p:nvPr/>
        </p:nvSpPr>
        <p:spPr bwMode="gray">
          <a:xfrm>
            <a:off x="457200" y="6088422"/>
            <a:ext cx="9303488" cy="212366"/>
          </a:xfrm>
          <a:prstGeom prst="rect">
            <a:avLst/>
          </a:prstGeom>
          <a:noFill/>
        </p:spPr>
        <p:txBody>
          <a:bodyPr wrap="square" lIns="0" tIns="0" rIns="0" bIns="27432" rtlCol="0" anchor="b" anchorCtr="0">
            <a:spAutoFit/>
          </a:bodyPr>
          <a:lstStyle>
            <a:defPPr>
              <a:defRPr lang="en-US"/>
            </a:defPPr>
            <a:lvl1pPr>
              <a:defRPr sz="800">
                <a:solidFill>
                  <a:schemeClr val="accent2">
                    <a:lumMod val="75000"/>
                  </a:schemeClr>
                </a:solidFill>
              </a:defRPr>
            </a:lvl1pPr>
          </a:lstStyle>
          <a:p>
            <a:pPr lvl="0"/>
            <a:r>
              <a:rPr lang="en-US" sz="1200" dirty="0">
                <a:solidFill>
                  <a:srgbClr val="6F7878"/>
                </a:solidFill>
              </a:rPr>
              <a:t>Source: Gartner</a:t>
            </a:r>
          </a:p>
        </p:txBody>
      </p:sp>
      <p:sp>
        <p:nvSpPr>
          <p:cNvPr id="8" name="object 8">
            <a:extLst>
              <a:ext uri="{FF2B5EF4-FFF2-40B4-BE49-F238E27FC236}">
                <a16:creationId xmlns:a16="http://schemas.microsoft.com/office/drawing/2014/main" id="{4A51B4E9-18BA-49D8-B748-22BDC418BD07}"/>
              </a:ext>
            </a:extLst>
          </p:cNvPr>
          <p:cNvSpPr/>
          <p:nvPr/>
        </p:nvSpPr>
        <p:spPr>
          <a:xfrm>
            <a:off x="468489" y="1991327"/>
            <a:ext cx="3695622" cy="398519"/>
          </a:xfrm>
          <a:custGeom>
            <a:avLst/>
            <a:gdLst/>
            <a:ahLst/>
            <a:cxnLst/>
            <a:rect l="l" t="t" r="r" b="b"/>
            <a:pathLst>
              <a:path w="2766060" h="362585">
                <a:moveTo>
                  <a:pt x="0" y="362165"/>
                </a:moveTo>
                <a:lnTo>
                  <a:pt x="2765856" y="362165"/>
                </a:lnTo>
                <a:lnTo>
                  <a:pt x="2765856" y="0"/>
                </a:lnTo>
                <a:lnTo>
                  <a:pt x="0" y="0"/>
                </a:lnTo>
                <a:lnTo>
                  <a:pt x="0" y="362165"/>
                </a:lnTo>
                <a:close/>
              </a:path>
            </a:pathLst>
          </a:custGeom>
          <a:solidFill>
            <a:srgbClr val="6F7878"/>
          </a:solidFill>
        </p:spPr>
        <p:txBody>
          <a:bodyPr wrap="square" lIns="0" tIns="0" rIns="0" bIns="0" rtlCol="0" anchor="ctr"/>
          <a:lstStyle/>
          <a:p>
            <a:pPr marL="12700" marR="0" lvl="0" indent="0" algn="ctr" defTabSz="4572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st</a:t>
            </a:r>
            <a:r>
              <a:rPr kumimoji="0" lang="en-US" sz="1600" b="1" i="0" u="none" strike="noStrike" kern="1200" cap="none" spc="-7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utting</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object 6">
            <a:extLst>
              <a:ext uri="{FF2B5EF4-FFF2-40B4-BE49-F238E27FC236}">
                <a16:creationId xmlns:a16="http://schemas.microsoft.com/office/drawing/2014/main" id="{19B0797D-0E30-4805-B56C-A8093178D635}"/>
              </a:ext>
            </a:extLst>
          </p:cNvPr>
          <p:cNvSpPr/>
          <p:nvPr/>
        </p:nvSpPr>
        <p:spPr>
          <a:xfrm>
            <a:off x="4226706" y="1991327"/>
            <a:ext cx="3694773" cy="398519"/>
          </a:xfrm>
          <a:custGeom>
            <a:avLst/>
            <a:gdLst/>
            <a:ahLst/>
            <a:cxnLst/>
            <a:rect l="l" t="t" r="r" b="b"/>
            <a:pathLst>
              <a:path w="2765425" h="362585">
                <a:moveTo>
                  <a:pt x="0" y="362165"/>
                </a:moveTo>
                <a:lnTo>
                  <a:pt x="2765132" y="362165"/>
                </a:lnTo>
                <a:lnTo>
                  <a:pt x="2765132" y="0"/>
                </a:lnTo>
                <a:lnTo>
                  <a:pt x="0" y="0"/>
                </a:lnTo>
                <a:lnTo>
                  <a:pt x="0" y="362165"/>
                </a:lnTo>
                <a:close/>
              </a:path>
            </a:pathLst>
          </a:custGeom>
          <a:solidFill>
            <a:srgbClr val="009AD7"/>
          </a:solidFill>
        </p:spPr>
        <p:txBody>
          <a:bodyPr wrap="square" lIns="0" tIns="0" rIns="0" bIns="0" rtlCol="0" anchor="ctr"/>
          <a:lstStyle/>
          <a:p>
            <a:pPr marL="12700" marR="0" lvl="0" indent="0" algn="ctr" defTabSz="4572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st</a:t>
            </a:r>
            <a:r>
              <a:rPr kumimoji="0" lang="en-US" sz="1600" b="1" i="0" u="none" strike="noStrike" kern="1200" cap="none" spc="-3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timization</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object 40">
            <a:extLst>
              <a:ext uri="{FF2B5EF4-FFF2-40B4-BE49-F238E27FC236}">
                <a16:creationId xmlns:a16="http://schemas.microsoft.com/office/drawing/2014/main" id="{FB724820-71FE-4B3A-BA2A-D0246465BE40}"/>
              </a:ext>
            </a:extLst>
          </p:cNvPr>
          <p:cNvSpPr/>
          <p:nvPr/>
        </p:nvSpPr>
        <p:spPr>
          <a:xfrm>
            <a:off x="7983972" y="1991327"/>
            <a:ext cx="3764341" cy="398519"/>
          </a:xfrm>
          <a:custGeom>
            <a:avLst/>
            <a:gdLst/>
            <a:ahLst/>
            <a:cxnLst/>
            <a:rect l="l" t="t" r="r" b="b"/>
            <a:pathLst>
              <a:path w="2817495" h="362585">
                <a:moveTo>
                  <a:pt x="0" y="362165"/>
                </a:moveTo>
                <a:lnTo>
                  <a:pt x="2816936" y="362165"/>
                </a:lnTo>
                <a:lnTo>
                  <a:pt x="2816936" y="0"/>
                </a:lnTo>
                <a:lnTo>
                  <a:pt x="0" y="0"/>
                </a:lnTo>
                <a:lnTo>
                  <a:pt x="0" y="362165"/>
                </a:lnTo>
                <a:close/>
              </a:path>
            </a:pathLst>
          </a:custGeom>
          <a:solidFill>
            <a:srgbClr val="002856"/>
          </a:solidFill>
        </p:spPr>
        <p:txBody>
          <a:bodyPr wrap="square" lIns="0" tIns="0" rIns="0" bIns="0" rtlCol="0" anchor="ctr"/>
          <a:lstStyle/>
          <a:p>
            <a:pPr marL="12700" marR="0" lvl="0" indent="0" algn="ctr" defTabSz="4572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1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alue</a:t>
            </a:r>
            <a:r>
              <a:rPr kumimoji="0" lang="en-US" sz="1600" b="1" i="0" u="none" strike="noStrike" kern="1200" cap="none" spc="-3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5"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timization</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010601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sp>
        <p:nvSpPr>
          <p:cNvPr id="242" name="Google Shape;242;p13"/>
          <p:cNvSpPr txBox="1">
            <a:spLocks noGrp="1"/>
          </p:cNvSpPr>
          <p:nvPr>
            <p:ph type="title"/>
          </p:nvPr>
        </p:nvSpPr>
        <p:spPr>
          <a:xfrm>
            <a:off x="457200" y="361950"/>
            <a:ext cx="11274552" cy="915865"/>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Manage Talent Strategies With Data Insights </a:t>
            </a:r>
            <a:br>
              <a:rPr lang="en-US" dirty="0"/>
            </a:br>
            <a:r>
              <a:rPr lang="en-US" dirty="0"/>
              <a:t>… and Know What You’re Good at</a:t>
            </a:r>
          </a:p>
        </p:txBody>
      </p:sp>
      <p:sp>
        <p:nvSpPr>
          <p:cNvPr id="245" name="Google Shape;245;p13"/>
          <p:cNvSpPr txBox="1"/>
          <p:nvPr/>
        </p:nvSpPr>
        <p:spPr>
          <a:xfrm>
            <a:off x="469731" y="3083835"/>
            <a:ext cx="2167128" cy="1683991"/>
          </a:xfrm>
          <a:prstGeom prst="rect">
            <a:avLst/>
          </a:prstGeom>
          <a:noFill/>
          <a:ln>
            <a:noFill/>
          </a:ln>
        </p:spPr>
        <p:txBody>
          <a:bodyPr spcFirstLastPara="1" wrap="square" lIns="0" tIns="9144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600" i="0" u="none" strike="noStrike" cap="none" dirty="0">
                <a:latin typeface="Arial"/>
                <a:ea typeface="Arial"/>
                <a:cs typeface="Arial"/>
                <a:sym typeface="Arial"/>
              </a:rPr>
              <a:t>Attraction drivers </a:t>
            </a:r>
            <a:r>
              <a:rPr lang="en-US" sz="1600" i="0" u="none" strike="noStrike" cap="none" dirty="0">
                <a:solidFill>
                  <a:schemeClr val="dk1"/>
                </a:solidFill>
                <a:latin typeface="Arial"/>
                <a:ea typeface="Arial"/>
                <a:cs typeface="Arial"/>
                <a:sym typeface="Arial"/>
              </a:rPr>
              <a:t>are employment attributes that employees rated</a:t>
            </a:r>
            <a:br>
              <a:rPr lang="en-US" sz="1600" i="0" u="none" strike="noStrike" cap="none" dirty="0">
                <a:solidFill>
                  <a:schemeClr val="dk1"/>
                </a:solidFill>
                <a:latin typeface="Arial"/>
                <a:ea typeface="Arial"/>
                <a:cs typeface="Arial"/>
                <a:sym typeface="Arial"/>
              </a:rPr>
            </a:br>
            <a:r>
              <a:rPr lang="en-US" sz="1600" i="0" u="none" strike="noStrike" cap="none" dirty="0">
                <a:solidFill>
                  <a:schemeClr val="dk1"/>
                </a:solidFill>
                <a:latin typeface="Arial"/>
                <a:ea typeface="Arial"/>
                <a:cs typeface="Arial"/>
                <a:sym typeface="Arial"/>
              </a:rPr>
              <a:t>as most important when considering a potential employer.</a:t>
            </a:r>
            <a:endParaRPr lang="en-US" sz="1600" i="0" u="none" strike="noStrike" cap="none" dirty="0">
              <a:solidFill>
                <a:srgbClr val="000000"/>
              </a:solidFill>
              <a:latin typeface="Arial"/>
              <a:ea typeface="Arial"/>
              <a:cs typeface="Arial"/>
              <a:sym typeface="Arial"/>
            </a:endParaRPr>
          </a:p>
        </p:txBody>
      </p:sp>
      <p:sp>
        <p:nvSpPr>
          <p:cNvPr id="254" name="Google Shape;254;p13"/>
          <p:cNvSpPr txBox="1"/>
          <p:nvPr/>
        </p:nvSpPr>
        <p:spPr>
          <a:xfrm>
            <a:off x="9572845" y="3083835"/>
            <a:ext cx="2167128" cy="1683991"/>
          </a:xfrm>
          <a:prstGeom prst="rect">
            <a:avLst/>
          </a:prstGeom>
          <a:noFill/>
          <a:ln>
            <a:noFill/>
          </a:ln>
        </p:spPr>
        <p:txBody>
          <a:bodyPr spcFirstLastPara="1" wrap="square" lIns="0" tIns="9144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600" i="0" u="none" strike="noStrike" cap="none" dirty="0">
                <a:latin typeface="Arial"/>
                <a:ea typeface="Arial"/>
                <a:cs typeface="Arial"/>
                <a:sym typeface="Arial"/>
              </a:rPr>
              <a:t>Attrition drivers </a:t>
            </a:r>
            <a:r>
              <a:rPr lang="en-US" sz="1600" i="0" u="none" strike="noStrike" cap="none" dirty="0">
                <a:solidFill>
                  <a:srgbClr val="000000"/>
                </a:solidFill>
                <a:latin typeface="Arial"/>
                <a:ea typeface="Arial"/>
                <a:cs typeface="Arial"/>
                <a:sym typeface="Arial"/>
              </a:rPr>
              <a:t>are employment attributes that employees were dissatisfied with while working for their previous organization</a:t>
            </a:r>
            <a:r>
              <a:rPr lang="en-US" sz="1600" i="0" u="none" strike="noStrike" cap="none" dirty="0">
                <a:solidFill>
                  <a:srgbClr val="FF540A"/>
                </a:solidFill>
                <a:latin typeface="Arial"/>
                <a:ea typeface="Arial"/>
                <a:cs typeface="Arial"/>
                <a:sym typeface="Arial"/>
              </a:rPr>
              <a:t>.</a:t>
            </a:r>
            <a:endParaRPr lang="en-US" sz="1600" i="0" u="none" strike="noStrike" cap="none" dirty="0">
              <a:solidFill>
                <a:srgbClr val="000000"/>
              </a:solidFill>
              <a:latin typeface="Arial"/>
              <a:ea typeface="Arial"/>
              <a:cs typeface="Arial"/>
              <a:sym typeface="Arial"/>
            </a:endParaRPr>
          </a:p>
        </p:txBody>
      </p:sp>
      <p:sp>
        <p:nvSpPr>
          <p:cNvPr id="4" name="TextBox 3">
            <a:extLst>
              <a:ext uri="{FF2B5EF4-FFF2-40B4-BE49-F238E27FC236}">
                <a16:creationId xmlns:a16="http://schemas.microsoft.com/office/drawing/2014/main" id="{5BA24D6D-E9A0-5537-BFE4-3B9C804E409D}"/>
              </a:ext>
            </a:extLst>
          </p:cNvPr>
          <p:cNvSpPr txBox="1"/>
          <p:nvPr/>
        </p:nvSpPr>
        <p:spPr>
          <a:xfrm>
            <a:off x="463423" y="5710276"/>
            <a:ext cx="9256310" cy="492443"/>
          </a:xfrm>
          <a:prstGeom prst="rect">
            <a:avLst/>
          </a:prstGeom>
          <a:noFill/>
        </p:spPr>
        <p:txBody>
          <a:bodyPr wrap="square" lIns="0" rIns="0" rtlCol="0">
            <a:spAutoFit/>
          </a:bodyPr>
          <a:lstStyle/>
          <a:p>
            <a:r>
              <a:rPr lang="en-US" sz="1400" dirty="0"/>
              <a:t>n varies; MSE responses</a:t>
            </a:r>
          </a:p>
          <a:p>
            <a:r>
              <a:rPr lang="en-US" sz="1200" dirty="0">
                <a:solidFill>
                  <a:srgbClr val="6F7878"/>
                </a:solidFill>
              </a:rPr>
              <a:t>Source: 4Q22 Global Labor Market Survey </a:t>
            </a:r>
          </a:p>
        </p:txBody>
      </p:sp>
      <p:sp>
        <p:nvSpPr>
          <p:cNvPr id="5" name="TextBox 4">
            <a:extLst>
              <a:ext uri="{FF2B5EF4-FFF2-40B4-BE49-F238E27FC236}">
                <a16:creationId xmlns:a16="http://schemas.microsoft.com/office/drawing/2014/main" id="{CD2244DB-ACD8-EC53-D1D5-7C7BDF305482}"/>
              </a:ext>
            </a:extLst>
          </p:cNvPr>
          <p:cNvSpPr txBox="1"/>
          <p:nvPr/>
        </p:nvSpPr>
        <p:spPr>
          <a:xfrm>
            <a:off x="5265055" y="2870088"/>
            <a:ext cx="1721900" cy="1877437"/>
          </a:xfrm>
          <a:prstGeom prst="rect">
            <a:avLst/>
          </a:prstGeom>
          <a:noFill/>
        </p:spPr>
        <p:txBody>
          <a:bodyPr wrap="square" lIns="0" rIns="0" rtlCol="0" anchor="ctr" anchorCtr="0">
            <a:spAutoFit/>
          </a:bodyPr>
          <a:lstStyle/>
          <a:p>
            <a:pPr algn="ctr">
              <a:spcBef>
                <a:spcPts val="600"/>
              </a:spcBef>
            </a:pPr>
            <a:r>
              <a:rPr lang="en-US" sz="1600" dirty="0"/>
              <a:t>Compensation</a:t>
            </a:r>
          </a:p>
          <a:p>
            <a:pPr algn="ctr">
              <a:spcBef>
                <a:spcPts val="600"/>
              </a:spcBef>
            </a:pPr>
            <a:r>
              <a:rPr lang="en-US" sz="1600" dirty="0"/>
              <a:t>Location</a:t>
            </a:r>
          </a:p>
          <a:p>
            <a:pPr algn="ctr">
              <a:spcBef>
                <a:spcPts val="600"/>
              </a:spcBef>
            </a:pPr>
            <a:r>
              <a:rPr lang="en-US" sz="1600" dirty="0"/>
              <a:t>Respect</a:t>
            </a:r>
          </a:p>
          <a:p>
            <a:pPr algn="ctr">
              <a:spcBef>
                <a:spcPts val="600"/>
              </a:spcBef>
            </a:pPr>
            <a:r>
              <a:rPr lang="en-US" sz="1600" dirty="0"/>
              <a:t>Technology Level</a:t>
            </a:r>
          </a:p>
          <a:p>
            <a:pPr algn="ctr">
              <a:spcBef>
                <a:spcPts val="600"/>
              </a:spcBef>
            </a:pPr>
            <a:r>
              <a:rPr lang="en-US" sz="1600" dirty="0"/>
              <a:t>Development Opportunity</a:t>
            </a:r>
          </a:p>
        </p:txBody>
      </p:sp>
      <p:sp>
        <p:nvSpPr>
          <p:cNvPr id="6" name="TextBox 5">
            <a:extLst>
              <a:ext uri="{FF2B5EF4-FFF2-40B4-BE49-F238E27FC236}">
                <a16:creationId xmlns:a16="http://schemas.microsoft.com/office/drawing/2014/main" id="{F0FA6852-4EA4-0198-80BB-F18A688A9CF3}"/>
              </a:ext>
            </a:extLst>
          </p:cNvPr>
          <p:cNvSpPr txBox="1"/>
          <p:nvPr/>
        </p:nvSpPr>
        <p:spPr>
          <a:xfrm>
            <a:off x="3116499" y="2870088"/>
            <a:ext cx="1949607" cy="1877437"/>
          </a:xfrm>
          <a:prstGeom prst="rect">
            <a:avLst/>
          </a:prstGeom>
          <a:noFill/>
        </p:spPr>
        <p:txBody>
          <a:bodyPr wrap="square" lIns="0" rIns="0" rtlCol="0" anchor="ctr" anchorCtr="0">
            <a:spAutoFit/>
          </a:bodyPr>
          <a:lstStyle/>
          <a:p>
            <a:pPr algn="l">
              <a:spcBef>
                <a:spcPts val="600"/>
              </a:spcBef>
            </a:pPr>
            <a:r>
              <a:rPr lang="en-US" sz="1600" dirty="0"/>
              <a:t>Work-Life Harmonization</a:t>
            </a:r>
          </a:p>
          <a:p>
            <a:pPr algn="l">
              <a:spcBef>
                <a:spcPts val="600"/>
              </a:spcBef>
            </a:pPr>
            <a:r>
              <a:rPr lang="en-US" sz="1600" dirty="0"/>
              <a:t>Organization Stability</a:t>
            </a:r>
          </a:p>
          <a:p>
            <a:pPr algn="l">
              <a:spcBef>
                <a:spcPts val="600"/>
              </a:spcBef>
            </a:pPr>
            <a:r>
              <a:rPr lang="en-US" sz="1600" dirty="0"/>
              <a:t>Health Benefits</a:t>
            </a:r>
          </a:p>
          <a:p>
            <a:pPr algn="l">
              <a:spcBef>
                <a:spcPts val="600"/>
              </a:spcBef>
            </a:pPr>
            <a:r>
              <a:rPr lang="en-US" sz="1600" dirty="0"/>
              <a:t>Vacation</a:t>
            </a:r>
          </a:p>
          <a:p>
            <a:pPr algn="l">
              <a:spcBef>
                <a:spcPts val="600"/>
              </a:spcBef>
            </a:pPr>
            <a:r>
              <a:rPr lang="en-US" sz="1600" dirty="0"/>
              <a:t>Retirement Benefits</a:t>
            </a:r>
          </a:p>
        </p:txBody>
      </p:sp>
      <p:sp>
        <p:nvSpPr>
          <p:cNvPr id="8" name="TextBox 7">
            <a:extLst>
              <a:ext uri="{FF2B5EF4-FFF2-40B4-BE49-F238E27FC236}">
                <a16:creationId xmlns:a16="http://schemas.microsoft.com/office/drawing/2014/main" id="{B9320CB1-721B-BE2E-077A-CC3121592A2E}"/>
              </a:ext>
            </a:extLst>
          </p:cNvPr>
          <p:cNvSpPr txBox="1"/>
          <p:nvPr/>
        </p:nvSpPr>
        <p:spPr>
          <a:xfrm>
            <a:off x="7177851" y="2870087"/>
            <a:ext cx="2118983" cy="1877437"/>
          </a:xfrm>
          <a:prstGeom prst="rect">
            <a:avLst/>
          </a:prstGeom>
          <a:noFill/>
        </p:spPr>
        <p:txBody>
          <a:bodyPr wrap="square" lIns="0" rIns="0" rtlCol="0" anchor="ctr" anchorCtr="0">
            <a:spAutoFit/>
          </a:bodyPr>
          <a:lstStyle/>
          <a:p>
            <a:pPr algn="l">
              <a:spcBef>
                <a:spcPts val="600"/>
              </a:spcBef>
            </a:pPr>
            <a:r>
              <a:rPr lang="en-US" sz="1600" dirty="0"/>
              <a:t>Manager Quality</a:t>
            </a:r>
          </a:p>
          <a:p>
            <a:pPr algn="l">
              <a:spcBef>
                <a:spcPts val="600"/>
              </a:spcBef>
            </a:pPr>
            <a:r>
              <a:rPr lang="en-US" sz="1600" dirty="0"/>
              <a:t>Employer Recognition</a:t>
            </a:r>
          </a:p>
          <a:p>
            <a:pPr algn="l">
              <a:spcBef>
                <a:spcPts val="600"/>
              </a:spcBef>
            </a:pPr>
            <a:r>
              <a:rPr lang="en-US" sz="1600" dirty="0"/>
              <a:t>Future Career Opportunity</a:t>
            </a:r>
          </a:p>
          <a:p>
            <a:pPr algn="l">
              <a:spcBef>
                <a:spcPts val="600"/>
              </a:spcBef>
            </a:pPr>
            <a:r>
              <a:rPr lang="en-US" sz="1600" dirty="0"/>
              <a:t>People Management</a:t>
            </a:r>
          </a:p>
          <a:p>
            <a:pPr algn="l">
              <a:spcBef>
                <a:spcPts val="600"/>
              </a:spcBef>
            </a:pPr>
            <a:r>
              <a:rPr lang="en-US" sz="1600" dirty="0"/>
              <a:t>Growth Rate</a:t>
            </a:r>
          </a:p>
        </p:txBody>
      </p:sp>
      <p:grpSp>
        <p:nvGrpSpPr>
          <p:cNvPr id="14" name="Group 13">
            <a:extLst>
              <a:ext uri="{FF2B5EF4-FFF2-40B4-BE49-F238E27FC236}">
                <a16:creationId xmlns:a16="http://schemas.microsoft.com/office/drawing/2014/main" id="{A93F747D-CCB0-2C21-7B4F-17B3F094EF7D}"/>
              </a:ext>
            </a:extLst>
          </p:cNvPr>
          <p:cNvGrpSpPr/>
          <p:nvPr/>
        </p:nvGrpSpPr>
        <p:grpSpPr>
          <a:xfrm>
            <a:off x="2799147" y="1956287"/>
            <a:ext cx="6593706" cy="3690804"/>
            <a:chOff x="2771944" y="1889381"/>
            <a:chExt cx="6593706" cy="3690804"/>
          </a:xfrm>
        </p:grpSpPr>
        <p:sp>
          <p:nvSpPr>
            <p:cNvPr id="3" name="Oval 2">
              <a:extLst>
                <a:ext uri="{FF2B5EF4-FFF2-40B4-BE49-F238E27FC236}">
                  <a16:creationId xmlns:a16="http://schemas.microsoft.com/office/drawing/2014/main" id="{91E0664E-AED7-4F6E-F806-CC209AAA3CDA}"/>
                </a:ext>
              </a:extLst>
            </p:cNvPr>
            <p:cNvSpPr/>
            <p:nvPr/>
          </p:nvSpPr>
          <p:spPr>
            <a:xfrm>
              <a:off x="5081824" y="1889381"/>
              <a:ext cx="4283826" cy="3690804"/>
            </a:xfrm>
            <a:prstGeom prst="ellipse">
              <a:avLst/>
            </a:prstGeom>
            <a:noFill/>
            <a:ln w="25400">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Oval 6">
              <a:extLst>
                <a:ext uri="{FF2B5EF4-FFF2-40B4-BE49-F238E27FC236}">
                  <a16:creationId xmlns:a16="http://schemas.microsoft.com/office/drawing/2014/main" id="{976C9886-2743-DE6E-0D7E-5357E8227CD3}"/>
                </a:ext>
              </a:extLst>
            </p:cNvPr>
            <p:cNvSpPr/>
            <p:nvPr/>
          </p:nvSpPr>
          <p:spPr>
            <a:xfrm>
              <a:off x="2771944" y="1889381"/>
              <a:ext cx="4283826" cy="3690804"/>
            </a:xfrm>
            <a:prstGeom prst="ellipse">
              <a:avLst/>
            </a:prstGeom>
            <a:noFill/>
            <a:ln w="25400">
              <a:solidFill>
                <a:srgbClr val="FF54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cxnSp>
        <p:nvCxnSpPr>
          <p:cNvPr id="13" name="Google Shape;365;p7">
            <a:extLst>
              <a:ext uri="{FF2B5EF4-FFF2-40B4-BE49-F238E27FC236}">
                <a16:creationId xmlns:a16="http://schemas.microsoft.com/office/drawing/2014/main" id="{591DB0EA-CAB4-D0BF-4F0F-BE8721AC2AE5}"/>
              </a:ext>
            </a:extLst>
          </p:cNvPr>
          <p:cNvCxnSpPr>
            <a:cxnSpLocks/>
          </p:cNvCxnSpPr>
          <p:nvPr/>
        </p:nvCxnSpPr>
        <p:spPr>
          <a:xfrm>
            <a:off x="6096000" y="1760716"/>
            <a:ext cx="0" cy="1064768"/>
          </a:xfrm>
          <a:prstGeom prst="straightConnector1">
            <a:avLst/>
          </a:prstGeom>
          <a:noFill/>
          <a:ln w="25400" cap="flat" cmpd="sng">
            <a:solidFill>
              <a:srgbClr val="009AD7"/>
            </a:solidFill>
            <a:prstDash val="solid"/>
            <a:round/>
            <a:headEnd type="none" w="sm" len="sm"/>
            <a:tailEnd type="triangle" w="lg" len="med"/>
          </a:ln>
        </p:spPr>
      </p:cxnSp>
      <p:sp>
        <p:nvSpPr>
          <p:cNvPr id="249" name="Google Shape;249;p13"/>
          <p:cNvSpPr txBox="1"/>
          <p:nvPr/>
        </p:nvSpPr>
        <p:spPr>
          <a:xfrm>
            <a:off x="4698252" y="1356839"/>
            <a:ext cx="2930845" cy="677078"/>
          </a:xfrm>
          <a:prstGeom prst="rect">
            <a:avLst/>
          </a:prstGeom>
          <a:solidFill>
            <a:schemeClr val="lt1"/>
          </a:solidFill>
          <a:ln w="25400" cap="flat" cmpd="sng">
            <a:solidFill>
              <a:srgbClr val="009AD7"/>
            </a:solidFill>
            <a:prstDash val="solid"/>
            <a:round/>
            <a:headEnd type="none" w="sm" len="sm"/>
            <a:tailEnd type="none" w="sm" len="sm"/>
          </a:ln>
        </p:spPr>
        <p:txBody>
          <a:bodyPr spcFirstLastPara="1" wrap="square" lIns="91425" tIns="91425" rIns="91425" bIns="91425" anchor="t" anchorCtr="0">
            <a:spAutoFit/>
          </a:bodyPr>
          <a:lstStyle>
            <a:defPPr>
              <a:defRPr lang="en-US"/>
            </a:defPPr>
            <a:lvl1pPr marR="0" lvl="0" indent="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defRPr>
            </a:lvl1pPr>
          </a:lstStyle>
          <a:p>
            <a:pPr algn="ctr"/>
            <a:r>
              <a:rPr lang="en-US" dirty="0">
                <a:sym typeface="Arial"/>
              </a:rPr>
              <a:t>Five of the 10 top attrition and attraction drivers overlap.</a:t>
            </a:r>
          </a:p>
        </p:txBody>
      </p:sp>
      <p:sp>
        <p:nvSpPr>
          <p:cNvPr id="247" name="Google Shape;247;p13"/>
          <p:cNvSpPr txBox="1"/>
          <p:nvPr/>
        </p:nvSpPr>
        <p:spPr>
          <a:xfrm>
            <a:off x="469731" y="2746977"/>
            <a:ext cx="2167128" cy="312817"/>
          </a:xfrm>
          <a:prstGeom prst="rect">
            <a:avLst/>
          </a:prstGeom>
          <a:solidFill>
            <a:schemeClr val="accent5"/>
          </a:solidFill>
          <a:ln w="25400" cap="flat" cmpd="sng">
            <a:noFill/>
            <a:prstDash val="solid"/>
            <a:round/>
            <a:headEnd type="none" w="sm" len="sm"/>
            <a:tailEnd type="none" w="sm" len="sm"/>
          </a:ln>
        </p:spPr>
        <p:txBody>
          <a:bodyPr spcFirstLastPara="1" wrap="square" lIns="91440" tIns="91440" rIns="91440" bIns="91440" anchor="ctr" anchorCtr="0">
            <a:noAutofit/>
          </a:bodyPr>
          <a:lstStyle/>
          <a:p>
            <a:pPr marL="0" marR="0" lvl="0" indent="0" rtl="0">
              <a:lnSpc>
                <a:spcPct val="100000"/>
              </a:lnSpc>
              <a:spcBef>
                <a:spcPts val="0"/>
              </a:spcBef>
              <a:spcAft>
                <a:spcPts val="0"/>
              </a:spcAft>
              <a:buClr>
                <a:srgbClr val="000000"/>
              </a:buClr>
              <a:buSzPts val="1800"/>
              <a:buFont typeface="Arial"/>
              <a:buNone/>
            </a:pPr>
            <a:r>
              <a:rPr lang="en-US" sz="1600" b="1" i="0" u="none" strike="noStrike" cap="none" dirty="0">
                <a:latin typeface="Arial"/>
                <a:ea typeface="Arial"/>
                <a:cs typeface="Arial"/>
                <a:sym typeface="Arial"/>
              </a:rPr>
              <a:t>Attraction Drivers</a:t>
            </a:r>
          </a:p>
        </p:txBody>
      </p:sp>
      <p:sp>
        <p:nvSpPr>
          <p:cNvPr id="243" name="Google Shape;243;p13"/>
          <p:cNvSpPr txBox="1"/>
          <p:nvPr/>
        </p:nvSpPr>
        <p:spPr>
          <a:xfrm>
            <a:off x="9572845" y="2746977"/>
            <a:ext cx="2165130" cy="312819"/>
          </a:xfrm>
          <a:prstGeom prst="rect">
            <a:avLst/>
          </a:prstGeom>
          <a:solidFill>
            <a:srgbClr val="002856"/>
          </a:solidFill>
          <a:ln w="25400" cap="flat" cmpd="sng">
            <a:noFill/>
            <a:prstDash val="solid"/>
            <a:round/>
            <a:headEnd type="none" w="sm" len="sm"/>
            <a:tailEnd type="none" w="sm" len="sm"/>
          </a:ln>
        </p:spPr>
        <p:txBody>
          <a:bodyPr spcFirstLastPara="1" wrap="square" lIns="91440" tIns="91440" rIns="91440" bIns="91440" anchor="ctr" anchorCtr="0">
            <a:noAutofit/>
          </a:bodyPr>
          <a:lstStyle/>
          <a:p>
            <a:pPr marL="0" marR="0" lvl="0" indent="0" rtl="0">
              <a:lnSpc>
                <a:spcPct val="100000"/>
              </a:lnSpc>
              <a:spcBef>
                <a:spcPts val="0"/>
              </a:spcBef>
              <a:spcAft>
                <a:spcPts val="0"/>
              </a:spcAft>
              <a:buClr>
                <a:srgbClr val="000000"/>
              </a:buClr>
              <a:buSzPts val="1800"/>
              <a:buFont typeface="Arial"/>
              <a:buNone/>
            </a:pPr>
            <a:r>
              <a:rPr lang="en-US" sz="1600" b="1" i="0" u="none" strike="noStrike" cap="none" dirty="0">
                <a:solidFill>
                  <a:schemeClr val="lt1"/>
                </a:solidFill>
                <a:latin typeface="Arial"/>
                <a:ea typeface="Arial"/>
                <a:cs typeface="Arial"/>
                <a:sym typeface="Arial"/>
              </a:rPr>
              <a:t>Attrition Drivers</a:t>
            </a:r>
            <a:endParaRPr lang="en-US" sz="1600" b="1" i="0" u="none" strike="noStrike" cap="none" dirty="0">
              <a:solidFill>
                <a:srgbClr val="000000"/>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sp>
        <p:nvSpPr>
          <p:cNvPr id="9" name="Google Shape;644;p31">
            <a:extLst>
              <a:ext uri="{FF2B5EF4-FFF2-40B4-BE49-F238E27FC236}">
                <a16:creationId xmlns:a16="http://schemas.microsoft.com/office/drawing/2014/main" id="{AF7F6749-595D-A42A-E4CA-E02392DC4DDD}"/>
              </a:ext>
            </a:extLst>
          </p:cNvPr>
          <p:cNvSpPr txBox="1"/>
          <p:nvPr/>
        </p:nvSpPr>
        <p:spPr>
          <a:xfrm>
            <a:off x="468489" y="5544887"/>
            <a:ext cx="11269485" cy="769411"/>
          </a:xfrm>
          <a:prstGeom prst="rect">
            <a:avLst/>
          </a:prstGeom>
          <a:noFill/>
          <a:ln>
            <a:noFill/>
          </a:ln>
        </p:spPr>
        <p:txBody>
          <a:bodyPr spcFirstLastPara="1" wrap="square" lIns="0" tIns="91425" rIns="91425" bIns="91425" anchor="b" anchorCtr="0">
            <a:spAutoFit/>
          </a:bodyPr>
          <a:lstStyle/>
          <a:p>
            <a:pPr marL="0" marR="0" lvl="0" indent="0" algn="l" rtl="0">
              <a:spcBef>
                <a:spcPts val="0"/>
              </a:spcBef>
              <a:spcAft>
                <a:spcPts val="0"/>
              </a:spcAft>
              <a:buNone/>
            </a:pPr>
            <a:r>
              <a:rPr lang="en-US" sz="1400" dirty="0">
                <a:solidFill>
                  <a:schemeClr val="dk1"/>
                </a:solidFill>
                <a:latin typeface="Arial"/>
                <a:ea typeface="Arial"/>
                <a:cs typeface="Arial"/>
                <a:sym typeface="Arial"/>
              </a:rPr>
              <a:t>n = 357 Midsize CIOs and technology executives answering, excluding “not sure”</a:t>
            </a:r>
          </a:p>
          <a:p>
            <a:pPr marL="0" marR="0" lvl="0" indent="0" algn="l" rtl="0">
              <a:spcBef>
                <a:spcPts val="0"/>
              </a:spcBef>
              <a:spcAft>
                <a:spcPts val="0"/>
              </a:spcAft>
              <a:buNone/>
            </a:pPr>
            <a:r>
              <a:rPr lang="en-US" sz="1200" dirty="0">
                <a:solidFill>
                  <a:srgbClr val="7F7F7F"/>
                </a:solidFill>
                <a:latin typeface="Arial"/>
                <a:ea typeface="Arial"/>
                <a:cs typeface="Arial"/>
                <a:sym typeface="Arial"/>
              </a:rPr>
              <a:t>Q. How would you describe the primary objectives of your enterprise’s [i.e., your business’s or government’s] digital technology investments in the last two years?</a:t>
            </a:r>
          </a:p>
          <a:p>
            <a:pPr marL="0" marR="0" lvl="0" indent="0" algn="l" rtl="0">
              <a:spcBef>
                <a:spcPts val="0"/>
              </a:spcBef>
              <a:spcAft>
                <a:spcPts val="0"/>
              </a:spcAft>
              <a:buNone/>
            </a:pPr>
            <a:r>
              <a:rPr lang="en-US" sz="1200" dirty="0">
                <a:solidFill>
                  <a:srgbClr val="6F7878"/>
                </a:solidFill>
                <a:cs typeface="Arial"/>
              </a:rPr>
              <a:t>Source: 2023 Gartner CIO and Technology Executive Survey</a:t>
            </a:r>
          </a:p>
        </p:txBody>
      </p:sp>
      <p:sp>
        <p:nvSpPr>
          <p:cNvPr id="2" name="TextBox 1">
            <a:extLst>
              <a:ext uri="{FF2B5EF4-FFF2-40B4-BE49-F238E27FC236}">
                <a16:creationId xmlns:a16="http://schemas.microsoft.com/office/drawing/2014/main" id="{16C808BA-7D6C-3F15-EDBF-FC85C16578C9}"/>
              </a:ext>
            </a:extLst>
          </p:cNvPr>
          <p:cNvSpPr txBox="1"/>
          <p:nvPr/>
        </p:nvSpPr>
        <p:spPr>
          <a:xfrm>
            <a:off x="7898422" y="2051538"/>
            <a:ext cx="180975" cy="361950"/>
          </a:xfrm>
          <a:prstGeom prst="rect">
            <a:avLst/>
          </a:prstGeom>
          <a:noFill/>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algn="l">
              <a:spcBef>
                <a:spcPts val="600"/>
              </a:spcBef>
            </a:pPr>
            <a:endParaRPr lang="en-US" dirty="0"/>
          </a:p>
        </p:txBody>
      </p:sp>
      <p:graphicFrame>
        <p:nvGraphicFramePr>
          <p:cNvPr id="8" name="SORTBYROW(R2) PINRIGHT{val=&quot;Other&quot;} DBC(R2){val=&quot;0%&quot;}">
            <a:extLst>
              <a:ext uri="{FF2B5EF4-FFF2-40B4-BE49-F238E27FC236}">
                <a16:creationId xmlns:a16="http://schemas.microsoft.com/office/drawing/2014/main" id="{E7EFD497-0D8B-EF83-2E4E-B070E308C098}"/>
              </a:ext>
            </a:extLst>
          </p:cNvPr>
          <p:cNvGraphicFramePr/>
          <p:nvPr>
            <p:extLst>
              <p:ext uri="{D42A27DB-BD31-4B8C-83A1-F6EECF244321}">
                <p14:modId xmlns:p14="http://schemas.microsoft.com/office/powerpoint/2010/main" val="2051645918"/>
              </p:ext>
            </p:extLst>
          </p:nvPr>
        </p:nvGraphicFramePr>
        <p:xfrm>
          <a:off x="419426" y="1949936"/>
          <a:ext cx="11318549" cy="3598985"/>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4">
            <a:extLst>
              <a:ext uri="{FF2B5EF4-FFF2-40B4-BE49-F238E27FC236}">
                <a16:creationId xmlns:a16="http://schemas.microsoft.com/office/drawing/2014/main" id="{65063B3B-1001-F3EC-8205-D33360AEED29}"/>
              </a:ext>
            </a:extLst>
          </p:cNvPr>
          <p:cNvSpPr>
            <a:spLocks noGrp="1"/>
          </p:cNvSpPr>
          <p:nvPr>
            <p:ph type="title"/>
          </p:nvPr>
        </p:nvSpPr>
        <p:spPr/>
        <p:txBody>
          <a:bodyPr/>
          <a:lstStyle/>
          <a:p>
            <a:r>
              <a:rPr lang="en-US" dirty="0"/>
              <a:t>Focus Digital Initiatives on Meeting Organizational Objectives</a:t>
            </a:r>
          </a:p>
        </p:txBody>
      </p:sp>
      <p:sp>
        <p:nvSpPr>
          <p:cNvPr id="6" name="Text Placeholder 5">
            <a:extLst>
              <a:ext uri="{FF2B5EF4-FFF2-40B4-BE49-F238E27FC236}">
                <a16:creationId xmlns:a16="http://schemas.microsoft.com/office/drawing/2014/main" id="{DC7D35F1-D23A-28F9-2F9E-08B7A14767E9}"/>
              </a:ext>
            </a:extLst>
          </p:cNvPr>
          <p:cNvSpPr>
            <a:spLocks noGrp="1"/>
          </p:cNvSpPr>
          <p:nvPr>
            <p:ph type="body" sz="quarter" idx="10"/>
          </p:nvPr>
        </p:nvSpPr>
        <p:spPr>
          <a:xfrm>
            <a:off x="468489" y="1326444"/>
            <a:ext cx="11274425" cy="247580"/>
          </a:xfrm>
        </p:spPr>
        <p:txBody>
          <a:bodyPr/>
          <a:lstStyle/>
          <a:p>
            <a:r>
              <a:rPr lang="en-US" dirty="0"/>
              <a:t>Objectives of Digital Investments Over Last Two Years</a:t>
            </a:r>
          </a:p>
        </p:txBody>
      </p:sp>
      <p:sp>
        <p:nvSpPr>
          <p:cNvPr id="7" name="Text Placeholder 6">
            <a:extLst>
              <a:ext uri="{FF2B5EF4-FFF2-40B4-BE49-F238E27FC236}">
                <a16:creationId xmlns:a16="http://schemas.microsoft.com/office/drawing/2014/main" id="{81C28F2D-5C44-831A-E3B5-E089D0BB0F1D}"/>
              </a:ext>
            </a:extLst>
          </p:cNvPr>
          <p:cNvSpPr>
            <a:spLocks noGrp="1"/>
          </p:cNvSpPr>
          <p:nvPr>
            <p:ph type="body" sz="quarter" idx="11"/>
          </p:nvPr>
        </p:nvSpPr>
        <p:spPr>
          <a:xfrm>
            <a:off x="468489" y="1607619"/>
            <a:ext cx="11274425" cy="247580"/>
          </a:xfrm>
        </p:spPr>
        <p:txBody>
          <a:bodyPr/>
          <a:lstStyle/>
          <a:p>
            <a:r>
              <a:rPr lang="en-US" dirty="0"/>
              <a:t>Percentage of Midsize Respondents</a:t>
            </a:r>
          </a:p>
        </p:txBody>
      </p:sp>
    </p:spTree>
  </p:cSld>
  <p:clrMapOvr>
    <a:masterClrMapping/>
  </p:clrMapOvr>
  <mc:AlternateContent xmlns:mc="http://schemas.openxmlformats.org/markup-compatibility/2006" xmlns:p14="http://schemas.microsoft.com/office/powerpoint/2010/main">
    <mc:Choice Requires="p14">
      <p:transition p14:dur="10"/>
    </mc:Choice>
    <mc:Fallback xmlns="" xmlns:a16="http://schemas.microsoft.com/office/drawing/2014/main" xmlns:c="http://schemas.openxmlformats.org/drawingml/2006/cha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Pentagon 13">
            <a:extLst>
              <a:ext uri="{FF2B5EF4-FFF2-40B4-BE49-F238E27FC236}">
                <a16:creationId xmlns:a16="http://schemas.microsoft.com/office/drawing/2014/main" id="{14278375-92AF-3A14-8879-77779AEC4D6C}"/>
              </a:ext>
            </a:extLst>
          </p:cNvPr>
          <p:cNvSpPr/>
          <p:nvPr/>
        </p:nvSpPr>
        <p:spPr>
          <a:xfrm>
            <a:off x="1517422" y="1346040"/>
            <a:ext cx="5246793" cy="512064"/>
          </a:xfrm>
          <a:prstGeom prst="homePlate">
            <a:avLst>
              <a:gd name="adj" fmla="val 37115"/>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BE2392C0-4522-41A9-9C8C-E6C232820D57}"/>
              </a:ext>
            </a:extLst>
          </p:cNvPr>
          <p:cNvSpPr>
            <a:spLocks noGrp="1"/>
          </p:cNvSpPr>
          <p:nvPr>
            <p:ph type="title"/>
          </p:nvPr>
        </p:nvSpPr>
        <p:spPr/>
        <p:txBody>
          <a:bodyPr/>
          <a:lstStyle/>
          <a:p>
            <a:r>
              <a:rPr lang="en-US" dirty="0"/>
              <a:t>Make Sure to Tell the Right Value Story</a:t>
            </a:r>
          </a:p>
        </p:txBody>
      </p:sp>
      <p:grpSp>
        <p:nvGrpSpPr>
          <p:cNvPr id="4" name="Group 3">
            <a:extLst>
              <a:ext uri="{FF2B5EF4-FFF2-40B4-BE49-F238E27FC236}">
                <a16:creationId xmlns:a16="http://schemas.microsoft.com/office/drawing/2014/main" id="{BDC43D55-BCD7-6941-C750-F104C6B59D8B}"/>
              </a:ext>
            </a:extLst>
          </p:cNvPr>
          <p:cNvGrpSpPr/>
          <p:nvPr/>
        </p:nvGrpSpPr>
        <p:grpSpPr>
          <a:xfrm>
            <a:off x="6848286" y="1312651"/>
            <a:ext cx="3835438" cy="578843"/>
            <a:chOff x="6848286" y="1312651"/>
            <a:chExt cx="3835438" cy="578843"/>
          </a:xfrm>
        </p:grpSpPr>
        <p:sp>
          <p:nvSpPr>
            <p:cNvPr id="5" name="TextBox 4">
              <a:extLst>
                <a:ext uri="{FF2B5EF4-FFF2-40B4-BE49-F238E27FC236}">
                  <a16:creationId xmlns:a16="http://schemas.microsoft.com/office/drawing/2014/main" id="{F471AC88-3E95-E324-E5C4-2E5C781D3C20}"/>
                </a:ext>
              </a:extLst>
            </p:cNvPr>
            <p:cNvSpPr txBox="1"/>
            <p:nvPr/>
          </p:nvSpPr>
          <p:spPr>
            <a:xfrm>
              <a:off x="6848286" y="1346040"/>
              <a:ext cx="3835438" cy="492412"/>
            </a:xfrm>
            <a:prstGeom prst="rect">
              <a:avLst/>
            </a:prstGeom>
            <a:solidFill>
              <a:srgbClr val="009AD7"/>
            </a:solidFill>
            <a:ln w="25400" cap="flat" cmpd="sng">
              <a:noFill/>
              <a:prstDash val="solid"/>
              <a:round/>
              <a:headEnd type="none" w="sm" len="sm"/>
              <a:tailEnd type="none" w="sm" len="sm"/>
            </a:ln>
          </p:spPr>
          <p:txBody>
            <a:bodyPr spcFirstLastPara="1" wrap="square" lIns="91425" tIns="91425" rIns="91425" bIns="91425" anchor="t" anchorCtr="0">
              <a:spAutoFit/>
            </a:bodyPr>
            <a:lstStyle>
              <a:defPPr>
                <a:defRPr lang="en-US"/>
              </a:defPPr>
              <a:lvl1pPr marR="0" lvl="0" indent="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defRPr>
              </a:lvl1pPr>
            </a:lstStyle>
            <a:p>
              <a:pPr algn="ctr"/>
              <a:r>
                <a:rPr lang="en-US" sz="2000" b="1" dirty="0"/>
                <a:t>… not ingredients</a:t>
              </a:r>
            </a:p>
          </p:txBody>
        </p:sp>
        <p:sp>
          <p:nvSpPr>
            <p:cNvPr id="6" name="Freeform 5">
              <a:extLst>
                <a:ext uri="{FF2B5EF4-FFF2-40B4-BE49-F238E27FC236}">
                  <a16:creationId xmlns:a16="http://schemas.microsoft.com/office/drawing/2014/main" id="{7FA88A0B-9EF3-C0DE-5C66-A48F5D71E481}"/>
                </a:ext>
              </a:extLst>
            </p:cNvPr>
            <p:cNvSpPr/>
            <p:nvPr/>
          </p:nvSpPr>
          <p:spPr>
            <a:xfrm>
              <a:off x="6848286" y="1312651"/>
              <a:ext cx="214162" cy="578843"/>
            </a:xfrm>
            <a:custGeom>
              <a:avLst/>
              <a:gdLst/>
              <a:ahLst/>
              <a:cxnLst/>
              <a:rect l="l" t="t" r="r" b="b"/>
              <a:pathLst>
                <a:path w="304038" h="608076">
                  <a:moveTo>
                    <a:pt x="304038" y="304038"/>
                  </a:moveTo>
                  <a:lnTo>
                    <a:pt x="0" y="0"/>
                  </a:lnTo>
                  <a:lnTo>
                    <a:pt x="0" y="608076"/>
                  </a:lnTo>
                  <a:close/>
                </a:path>
              </a:pathLst>
            </a:custGeom>
            <a:solidFill>
              <a:schemeClr val="bg1"/>
            </a:solidFill>
          </p:spPr>
          <p:txBody>
            <a:bodyPr/>
            <a:lstStyle/>
            <a:p>
              <a:endParaRPr lang="en-US"/>
            </a:p>
          </p:txBody>
        </p:sp>
      </p:grpSp>
      <p:sp>
        <p:nvSpPr>
          <p:cNvPr id="7" name="Text Placeholder 19">
            <a:extLst>
              <a:ext uri="{FF2B5EF4-FFF2-40B4-BE49-F238E27FC236}">
                <a16:creationId xmlns:a16="http://schemas.microsoft.com/office/drawing/2014/main" id="{487A6F7C-E4A9-0B51-2C25-5CE2091537BA}"/>
              </a:ext>
            </a:extLst>
          </p:cNvPr>
          <p:cNvSpPr txBox="1">
            <a:spLocks/>
          </p:cNvSpPr>
          <p:nvPr/>
        </p:nvSpPr>
        <p:spPr>
          <a:xfrm>
            <a:off x="6848286" y="2042747"/>
            <a:ext cx="3835439" cy="3102643"/>
          </a:xfrm>
          <a:prstGeom prst="rect">
            <a:avLst/>
          </a:prstGeom>
          <a:ln w="25400">
            <a:solidFill>
              <a:srgbClr val="6F7878"/>
            </a:solidFill>
          </a:ln>
        </p:spPr>
        <p:txBody>
          <a:bodyPr vert="horz" lIns="182880" tIns="182880" rIns="0" bIns="0" rtlCol="0">
            <a:noAutofit/>
          </a:bodyPr>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en-US" sz="1600" dirty="0"/>
              <a:t>½ cup butter, softened</a:t>
            </a:r>
          </a:p>
          <a:p>
            <a:pPr marL="0" indent="0">
              <a:buFont typeface="Arial" panose="020B0604020202020204" pitchFamily="34" charset="0"/>
              <a:buNone/>
            </a:pPr>
            <a:r>
              <a:rPr lang="en-US" altLang="en-US" sz="1600" dirty="0"/>
              <a:t>⅓ cup packed dark brown sugar</a:t>
            </a:r>
          </a:p>
          <a:p>
            <a:pPr marL="0" indent="0">
              <a:buFont typeface="Arial" panose="020B0604020202020204" pitchFamily="34" charset="0"/>
              <a:buNone/>
            </a:pPr>
            <a:r>
              <a:rPr lang="en-US" altLang="en-US" sz="1600" dirty="0"/>
              <a:t>⅓ cup white sugar</a:t>
            </a:r>
          </a:p>
          <a:p>
            <a:pPr marL="0" indent="0">
              <a:buFont typeface="Arial" panose="020B0604020202020204" pitchFamily="34" charset="0"/>
              <a:buNone/>
            </a:pPr>
            <a:r>
              <a:rPr lang="en-US" altLang="en-US" sz="1600" dirty="0"/>
              <a:t>1 egg</a:t>
            </a:r>
          </a:p>
          <a:p>
            <a:pPr marL="0" indent="0">
              <a:buFont typeface="Arial" panose="020B0604020202020204" pitchFamily="34" charset="0"/>
              <a:buNone/>
            </a:pPr>
            <a:r>
              <a:rPr lang="en-US" altLang="en-US" sz="1600" dirty="0"/>
              <a:t>1 teaspoon vanilla extract</a:t>
            </a:r>
          </a:p>
          <a:p>
            <a:pPr marL="0" indent="0">
              <a:buFont typeface="Arial" panose="020B0604020202020204" pitchFamily="34" charset="0"/>
              <a:buNone/>
            </a:pPr>
            <a:r>
              <a:rPr lang="en-US" altLang="en-US" sz="1600" dirty="0"/>
              <a:t>1⅛ cups sifted all-purpose flour</a:t>
            </a:r>
          </a:p>
          <a:p>
            <a:pPr marL="0" indent="0">
              <a:buFont typeface="Arial" panose="020B0604020202020204" pitchFamily="34" charset="0"/>
              <a:buNone/>
            </a:pPr>
            <a:r>
              <a:rPr lang="en-US" altLang="en-US" sz="1600" dirty="0"/>
              <a:t>½ teaspoon baking soda</a:t>
            </a:r>
          </a:p>
        </p:txBody>
      </p:sp>
      <p:pic>
        <p:nvPicPr>
          <p:cNvPr id="8" name="Picture 2">
            <a:extLst>
              <a:ext uri="{FF2B5EF4-FFF2-40B4-BE49-F238E27FC236}">
                <a16:creationId xmlns:a16="http://schemas.microsoft.com/office/drawing/2014/main" id="{4AE7E13F-D2B1-C5BD-8EB7-AC14E3E33D8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439"/>
          <a:stretch/>
        </p:blipFill>
        <p:spPr bwMode="auto">
          <a:xfrm>
            <a:off x="1517422" y="2042747"/>
            <a:ext cx="5086641" cy="3102643"/>
          </a:xfrm>
          <a:prstGeom prst="rect">
            <a:avLst/>
          </a:prstGeom>
          <a:noFill/>
          <a:ln w="25400">
            <a:solidFill>
              <a:srgbClr val="6F7878"/>
            </a:solidFill>
          </a:ln>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24150F22-0E5A-54E9-C825-8A5F93229084}"/>
              </a:ext>
            </a:extLst>
          </p:cNvPr>
          <p:cNvGrpSpPr/>
          <p:nvPr/>
        </p:nvGrpSpPr>
        <p:grpSpPr>
          <a:xfrm>
            <a:off x="6848285" y="4882520"/>
            <a:ext cx="3835439" cy="391927"/>
            <a:chOff x="6234111" y="5424055"/>
            <a:chExt cx="5499101" cy="560185"/>
          </a:xfrm>
        </p:grpSpPr>
        <p:sp>
          <p:nvSpPr>
            <p:cNvPr id="10" name="Freeform 38">
              <a:extLst>
                <a:ext uri="{FF2B5EF4-FFF2-40B4-BE49-F238E27FC236}">
                  <a16:creationId xmlns:a16="http://schemas.microsoft.com/office/drawing/2014/main" id="{61EAF803-3279-DBEA-668A-CB554611318E}"/>
                </a:ext>
              </a:extLst>
            </p:cNvPr>
            <p:cNvSpPr/>
            <p:nvPr/>
          </p:nvSpPr>
          <p:spPr>
            <a:xfrm>
              <a:off x="6234111" y="5432244"/>
              <a:ext cx="5499101" cy="551996"/>
            </a:xfrm>
            <a:custGeom>
              <a:avLst/>
              <a:gdLst>
                <a:gd name="connsiteX0" fmla="*/ 364944 w 4134161"/>
                <a:gd name="connsiteY0" fmla="*/ 0 h 410299"/>
                <a:gd name="connsiteX1" fmla="*/ 706937 w 4134161"/>
                <a:gd name="connsiteY1" fmla="*/ 266677 h 410299"/>
                <a:gd name="connsiteX2" fmla="*/ 1048930 w 4134161"/>
                <a:gd name="connsiteY2" fmla="*/ 0 h 410299"/>
                <a:gd name="connsiteX3" fmla="*/ 1390922 w 4134161"/>
                <a:gd name="connsiteY3" fmla="*/ 266677 h 410299"/>
                <a:gd name="connsiteX4" fmla="*/ 1732914 w 4134161"/>
                <a:gd name="connsiteY4" fmla="*/ 0 h 410299"/>
                <a:gd name="connsiteX5" fmla="*/ 2074908 w 4134161"/>
                <a:gd name="connsiteY5" fmla="*/ 266677 h 410299"/>
                <a:gd name="connsiteX6" fmla="*/ 2416900 w 4134161"/>
                <a:gd name="connsiteY6" fmla="*/ 0 h 410299"/>
                <a:gd name="connsiteX7" fmla="*/ 2758894 w 4134161"/>
                <a:gd name="connsiteY7" fmla="*/ 266677 h 410299"/>
                <a:gd name="connsiteX8" fmla="*/ 3100885 w 4134161"/>
                <a:gd name="connsiteY8" fmla="*/ 0 h 410299"/>
                <a:gd name="connsiteX9" fmla="*/ 3442879 w 4134161"/>
                <a:gd name="connsiteY9" fmla="*/ 266677 h 410299"/>
                <a:gd name="connsiteX10" fmla="*/ 3784871 w 4134161"/>
                <a:gd name="connsiteY10" fmla="*/ 0 h 410299"/>
                <a:gd name="connsiteX11" fmla="*/ 4126865 w 4134161"/>
                <a:gd name="connsiteY11" fmla="*/ 266677 h 410299"/>
                <a:gd name="connsiteX12" fmla="*/ 4134161 w 4134161"/>
                <a:gd name="connsiteY12" fmla="*/ 260988 h 410299"/>
                <a:gd name="connsiteX13" fmla="*/ 4134161 w 4134161"/>
                <a:gd name="connsiteY13" fmla="*/ 410299 h 410299"/>
                <a:gd name="connsiteX14" fmla="*/ 0 w 4134161"/>
                <a:gd name="connsiteY14" fmla="*/ 410299 h 410299"/>
                <a:gd name="connsiteX15" fmla="*/ 0 w 4134161"/>
                <a:gd name="connsiteY15" fmla="*/ 294468 h 410299"/>
                <a:gd name="connsiteX16" fmla="*/ 40874 w 4134161"/>
                <a:gd name="connsiteY16" fmla="*/ 257900 h 410299"/>
                <a:gd name="connsiteX17" fmla="*/ 364944 w 4134161"/>
                <a:gd name="connsiteY17" fmla="*/ 0 h 41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34161" h="410299">
                  <a:moveTo>
                    <a:pt x="364944" y="0"/>
                  </a:moveTo>
                  <a:lnTo>
                    <a:pt x="706937" y="266677"/>
                  </a:lnTo>
                  <a:lnTo>
                    <a:pt x="1048930" y="0"/>
                  </a:lnTo>
                  <a:lnTo>
                    <a:pt x="1390922" y="266677"/>
                  </a:lnTo>
                  <a:lnTo>
                    <a:pt x="1732914" y="0"/>
                  </a:lnTo>
                  <a:lnTo>
                    <a:pt x="2074908" y="266677"/>
                  </a:lnTo>
                  <a:lnTo>
                    <a:pt x="2416900" y="0"/>
                  </a:lnTo>
                  <a:lnTo>
                    <a:pt x="2758894" y="266677"/>
                  </a:lnTo>
                  <a:lnTo>
                    <a:pt x="3100885" y="0"/>
                  </a:lnTo>
                  <a:lnTo>
                    <a:pt x="3442879" y="266677"/>
                  </a:lnTo>
                  <a:lnTo>
                    <a:pt x="3784871" y="0"/>
                  </a:lnTo>
                  <a:lnTo>
                    <a:pt x="4126865" y="266677"/>
                  </a:lnTo>
                  <a:lnTo>
                    <a:pt x="4134161" y="260988"/>
                  </a:lnTo>
                  <a:lnTo>
                    <a:pt x="4134161" y="410299"/>
                  </a:lnTo>
                  <a:lnTo>
                    <a:pt x="0" y="410299"/>
                  </a:lnTo>
                  <a:lnTo>
                    <a:pt x="0" y="294468"/>
                  </a:lnTo>
                  <a:lnTo>
                    <a:pt x="40874" y="257900"/>
                  </a:lnTo>
                  <a:lnTo>
                    <a:pt x="364944"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1" name="Freeform 34">
              <a:extLst>
                <a:ext uri="{FF2B5EF4-FFF2-40B4-BE49-F238E27FC236}">
                  <a16:creationId xmlns:a16="http://schemas.microsoft.com/office/drawing/2014/main" id="{59A14564-68C6-9ECD-F78B-9F1EE8FD5DAB}"/>
                </a:ext>
              </a:extLst>
            </p:cNvPr>
            <p:cNvSpPr/>
            <p:nvPr/>
          </p:nvSpPr>
          <p:spPr>
            <a:xfrm>
              <a:off x="6251003" y="5424055"/>
              <a:ext cx="5472502" cy="379009"/>
            </a:xfrm>
            <a:custGeom>
              <a:avLst/>
              <a:gdLst>
                <a:gd name="connsiteX0" fmla="*/ 360454 w 12739414"/>
                <a:gd name="connsiteY0" fmla="*/ 0 h 267098"/>
                <a:gd name="connsiteX1" fmla="*/ 713602 w 12739414"/>
                <a:gd name="connsiteY1" fmla="*/ 261684 h 267098"/>
                <a:gd name="connsiteX2" fmla="*/ 1066750 w 12739414"/>
                <a:gd name="connsiteY2" fmla="*/ 0 h 267098"/>
                <a:gd name="connsiteX3" fmla="*/ 1419897 w 12739414"/>
                <a:gd name="connsiteY3" fmla="*/ 261684 h 267098"/>
                <a:gd name="connsiteX4" fmla="*/ 1773044 w 12739414"/>
                <a:gd name="connsiteY4" fmla="*/ 0 h 267098"/>
                <a:gd name="connsiteX5" fmla="*/ 2126193 w 12739414"/>
                <a:gd name="connsiteY5" fmla="*/ 261684 h 267098"/>
                <a:gd name="connsiteX6" fmla="*/ 2479341 w 12739414"/>
                <a:gd name="connsiteY6" fmla="*/ 0 h 267098"/>
                <a:gd name="connsiteX7" fmla="*/ 2832489 w 12739414"/>
                <a:gd name="connsiteY7" fmla="*/ 261684 h 267098"/>
                <a:gd name="connsiteX8" fmla="*/ 3185636 w 12739414"/>
                <a:gd name="connsiteY8" fmla="*/ 0 h 267098"/>
                <a:gd name="connsiteX9" fmla="*/ 3538784 w 12739414"/>
                <a:gd name="connsiteY9" fmla="*/ 261684 h 267098"/>
                <a:gd name="connsiteX10" fmla="*/ 3891932 w 12739414"/>
                <a:gd name="connsiteY10" fmla="*/ 0 h 267098"/>
                <a:gd name="connsiteX11" fmla="*/ 4245080 w 12739414"/>
                <a:gd name="connsiteY11" fmla="*/ 261684 h 267098"/>
                <a:gd name="connsiteX12" fmla="*/ 4598227 w 12739414"/>
                <a:gd name="connsiteY12" fmla="*/ 0 h 267098"/>
                <a:gd name="connsiteX13" fmla="*/ 4951375 w 12739414"/>
                <a:gd name="connsiteY13" fmla="*/ 261684 h 267098"/>
                <a:gd name="connsiteX14" fmla="*/ 5304524 w 12739414"/>
                <a:gd name="connsiteY14" fmla="*/ 0 h 267098"/>
                <a:gd name="connsiteX15" fmla="*/ 5657671 w 12739414"/>
                <a:gd name="connsiteY15" fmla="*/ 261684 h 267098"/>
                <a:gd name="connsiteX16" fmla="*/ 6010817 w 12739414"/>
                <a:gd name="connsiteY16" fmla="*/ 0 h 267098"/>
                <a:gd name="connsiteX17" fmla="*/ 6369707 w 12739414"/>
                <a:gd name="connsiteY17" fmla="*/ 265939 h 267098"/>
                <a:gd name="connsiteX18" fmla="*/ 6728597 w 12739414"/>
                <a:gd name="connsiteY18" fmla="*/ 0 h 267098"/>
                <a:gd name="connsiteX19" fmla="*/ 7081745 w 12739414"/>
                <a:gd name="connsiteY19" fmla="*/ 261684 h 267098"/>
                <a:gd name="connsiteX20" fmla="*/ 7434893 w 12739414"/>
                <a:gd name="connsiteY20" fmla="*/ 0 h 267098"/>
                <a:gd name="connsiteX21" fmla="*/ 7788039 w 12739414"/>
                <a:gd name="connsiteY21" fmla="*/ 261684 h 267098"/>
                <a:gd name="connsiteX22" fmla="*/ 8141187 w 12739414"/>
                <a:gd name="connsiteY22" fmla="*/ 0 h 267098"/>
                <a:gd name="connsiteX23" fmla="*/ 8494336 w 12739414"/>
                <a:gd name="connsiteY23" fmla="*/ 261684 h 267098"/>
                <a:gd name="connsiteX24" fmla="*/ 8847484 w 12739414"/>
                <a:gd name="connsiteY24" fmla="*/ 0 h 267098"/>
                <a:gd name="connsiteX25" fmla="*/ 9200631 w 12739414"/>
                <a:gd name="connsiteY25" fmla="*/ 261684 h 267098"/>
                <a:gd name="connsiteX26" fmla="*/ 9553779 w 12739414"/>
                <a:gd name="connsiteY26" fmla="*/ 0 h 267098"/>
                <a:gd name="connsiteX27" fmla="*/ 9906927 w 12739414"/>
                <a:gd name="connsiteY27" fmla="*/ 261684 h 267098"/>
                <a:gd name="connsiteX28" fmla="*/ 10260074 w 12739414"/>
                <a:gd name="connsiteY28" fmla="*/ 0 h 267098"/>
                <a:gd name="connsiteX29" fmla="*/ 10613222 w 12739414"/>
                <a:gd name="connsiteY29" fmla="*/ 261684 h 267098"/>
                <a:gd name="connsiteX30" fmla="*/ 10966370 w 12739414"/>
                <a:gd name="connsiteY30" fmla="*/ 0 h 267098"/>
                <a:gd name="connsiteX31" fmla="*/ 11319518 w 12739414"/>
                <a:gd name="connsiteY31" fmla="*/ 261684 h 267098"/>
                <a:gd name="connsiteX32" fmla="*/ 11672666 w 12739414"/>
                <a:gd name="connsiteY32" fmla="*/ 0 h 267098"/>
                <a:gd name="connsiteX33" fmla="*/ 12025814 w 12739414"/>
                <a:gd name="connsiteY33" fmla="*/ 261684 h 267098"/>
                <a:gd name="connsiteX34" fmla="*/ 12378960 w 12739414"/>
                <a:gd name="connsiteY34" fmla="*/ 0 h 267098"/>
                <a:gd name="connsiteX35" fmla="*/ 12739414 w 12739414"/>
                <a:gd name="connsiteY35" fmla="*/ 267098 h 267098"/>
                <a:gd name="connsiteX36" fmla="*/ 6371271 w 12739414"/>
                <a:gd name="connsiteY36" fmla="*/ 267098 h 267098"/>
                <a:gd name="connsiteX37" fmla="*/ 6368143 w 12739414"/>
                <a:gd name="connsiteY37" fmla="*/ 267098 h 267098"/>
                <a:gd name="connsiteX38" fmla="*/ 0 w 12739414"/>
                <a:gd name="connsiteY38" fmla="*/ 267098 h 267098"/>
                <a:gd name="connsiteX0" fmla="*/ 360454 w 12739414"/>
                <a:gd name="connsiteY0" fmla="*/ 0 h 699805"/>
                <a:gd name="connsiteX1" fmla="*/ 713602 w 12739414"/>
                <a:gd name="connsiteY1" fmla="*/ 261684 h 699805"/>
                <a:gd name="connsiteX2" fmla="*/ 1066750 w 12739414"/>
                <a:gd name="connsiteY2" fmla="*/ 0 h 699805"/>
                <a:gd name="connsiteX3" fmla="*/ 1419897 w 12739414"/>
                <a:gd name="connsiteY3" fmla="*/ 261684 h 699805"/>
                <a:gd name="connsiteX4" fmla="*/ 1773044 w 12739414"/>
                <a:gd name="connsiteY4" fmla="*/ 0 h 699805"/>
                <a:gd name="connsiteX5" fmla="*/ 2126193 w 12739414"/>
                <a:gd name="connsiteY5" fmla="*/ 261684 h 699805"/>
                <a:gd name="connsiteX6" fmla="*/ 2479341 w 12739414"/>
                <a:gd name="connsiteY6" fmla="*/ 0 h 699805"/>
                <a:gd name="connsiteX7" fmla="*/ 2832489 w 12739414"/>
                <a:gd name="connsiteY7" fmla="*/ 261684 h 699805"/>
                <a:gd name="connsiteX8" fmla="*/ 3185636 w 12739414"/>
                <a:gd name="connsiteY8" fmla="*/ 0 h 699805"/>
                <a:gd name="connsiteX9" fmla="*/ 3538784 w 12739414"/>
                <a:gd name="connsiteY9" fmla="*/ 261684 h 699805"/>
                <a:gd name="connsiteX10" fmla="*/ 3891932 w 12739414"/>
                <a:gd name="connsiteY10" fmla="*/ 0 h 699805"/>
                <a:gd name="connsiteX11" fmla="*/ 4245080 w 12739414"/>
                <a:gd name="connsiteY11" fmla="*/ 261684 h 699805"/>
                <a:gd name="connsiteX12" fmla="*/ 4598227 w 12739414"/>
                <a:gd name="connsiteY12" fmla="*/ 0 h 699805"/>
                <a:gd name="connsiteX13" fmla="*/ 4951375 w 12739414"/>
                <a:gd name="connsiteY13" fmla="*/ 261684 h 699805"/>
                <a:gd name="connsiteX14" fmla="*/ 5304524 w 12739414"/>
                <a:gd name="connsiteY14" fmla="*/ 0 h 699805"/>
                <a:gd name="connsiteX15" fmla="*/ 5657671 w 12739414"/>
                <a:gd name="connsiteY15" fmla="*/ 261684 h 699805"/>
                <a:gd name="connsiteX16" fmla="*/ 6010817 w 12739414"/>
                <a:gd name="connsiteY16" fmla="*/ 0 h 699805"/>
                <a:gd name="connsiteX17" fmla="*/ 6369707 w 12739414"/>
                <a:gd name="connsiteY17" fmla="*/ 265939 h 699805"/>
                <a:gd name="connsiteX18" fmla="*/ 6728597 w 12739414"/>
                <a:gd name="connsiteY18" fmla="*/ 0 h 699805"/>
                <a:gd name="connsiteX19" fmla="*/ 7081745 w 12739414"/>
                <a:gd name="connsiteY19" fmla="*/ 261684 h 699805"/>
                <a:gd name="connsiteX20" fmla="*/ 7434893 w 12739414"/>
                <a:gd name="connsiteY20" fmla="*/ 0 h 699805"/>
                <a:gd name="connsiteX21" fmla="*/ 7788039 w 12739414"/>
                <a:gd name="connsiteY21" fmla="*/ 261684 h 699805"/>
                <a:gd name="connsiteX22" fmla="*/ 8141187 w 12739414"/>
                <a:gd name="connsiteY22" fmla="*/ 0 h 699805"/>
                <a:gd name="connsiteX23" fmla="*/ 8494336 w 12739414"/>
                <a:gd name="connsiteY23" fmla="*/ 261684 h 699805"/>
                <a:gd name="connsiteX24" fmla="*/ 8847484 w 12739414"/>
                <a:gd name="connsiteY24" fmla="*/ 0 h 699805"/>
                <a:gd name="connsiteX25" fmla="*/ 9200631 w 12739414"/>
                <a:gd name="connsiteY25" fmla="*/ 261684 h 699805"/>
                <a:gd name="connsiteX26" fmla="*/ 9553779 w 12739414"/>
                <a:gd name="connsiteY26" fmla="*/ 0 h 699805"/>
                <a:gd name="connsiteX27" fmla="*/ 9906927 w 12739414"/>
                <a:gd name="connsiteY27" fmla="*/ 261684 h 699805"/>
                <a:gd name="connsiteX28" fmla="*/ 10260074 w 12739414"/>
                <a:gd name="connsiteY28" fmla="*/ 0 h 699805"/>
                <a:gd name="connsiteX29" fmla="*/ 10613222 w 12739414"/>
                <a:gd name="connsiteY29" fmla="*/ 261684 h 699805"/>
                <a:gd name="connsiteX30" fmla="*/ 10966370 w 12739414"/>
                <a:gd name="connsiteY30" fmla="*/ 0 h 699805"/>
                <a:gd name="connsiteX31" fmla="*/ 11319518 w 12739414"/>
                <a:gd name="connsiteY31" fmla="*/ 261684 h 699805"/>
                <a:gd name="connsiteX32" fmla="*/ 11672666 w 12739414"/>
                <a:gd name="connsiteY32" fmla="*/ 0 h 699805"/>
                <a:gd name="connsiteX33" fmla="*/ 12025814 w 12739414"/>
                <a:gd name="connsiteY33" fmla="*/ 261684 h 699805"/>
                <a:gd name="connsiteX34" fmla="*/ 12378960 w 12739414"/>
                <a:gd name="connsiteY34" fmla="*/ 0 h 699805"/>
                <a:gd name="connsiteX35" fmla="*/ 12739414 w 12739414"/>
                <a:gd name="connsiteY35" fmla="*/ 267098 h 699805"/>
                <a:gd name="connsiteX36" fmla="*/ 6371271 w 12739414"/>
                <a:gd name="connsiteY36" fmla="*/ 267098 h 699805"/>
                <a:gd name="connsiteX37" fmla="*/ 6359979 w 12739414"/>
                <a:gd name="connsiteY37" fmla="*/ 699805 h 699805"/>
                <a:gd name="connsiteX38" fmla="*/ 0 w 12739414"/>
                <a:gd name="connsiteY38" fmla="*/ 267098 h 699805"/>
                <a:gd name="connsiteX39" fmla="*/ 360454 w 12739414"/>
                <a:gd name="connsiteY39" fmla="*/ 0 h 699805"/>
                <a:gd name="connsiteX0" fmla="*/ 360454 w 12739414"/>
                <a:gd name="connsiteY0" fmla="*/ 0 h 699805"/>
                <a:gd name="connsiteX1" fmla="*/ 713602 w 12739414"/>
                <a:gd name="connsiteY1" fmla="*/ 261684 h 699805"/>
                <a:gd name="connsiteX2" fmla="*/ 1066750 w 12739414"/>
                <a:gd name="connsiteY2" fmla="*/ 0 h 699805"/>
                <a:gd name="connsiteX3" fmla="*/ 1419897 w 12739414"/>
                <a:gd name="connsiteY3" fmla="*/ 261684 h 699805"/>
                <a:gd name="connsiteX4" fmla="*/ 1773044 w 12739414"/>
                <a:gd name="connsiteY4" fmla="*/ 0 h 699805"/>
                <a:gd name="connsiteX5" fmla="*/ 2126193 w 12739414"/>
                <a:gd name="connsiteY5" fmla="*/ 261684 h 699805"/>
                <a:gd name="connsiteX6" fmla="*/ 2479341 w 12739414"/>
                <a:gd name="connsiteY6" fmla="*/ 0 h 699805"/>
                <a:gd name="connsiteX7" fmla="*/ 2832489 w 12739414"/>
                <a:gd name="connsiteY7" fmla="*/ 261684 h 699805"/>
                <a:gd name="connsiteX8" fmla="*/ 3185636 w 12739414"/>
                <a:gd name="connsiteY8" fmla="*/ 0 h 699805"/>
                <a:gd name="connsiteX9" fmla="*/ 3538784 w 12739414"/>
                <a:gd name="connsiteY9" fmla="*/ 261684 h 699805"/>
                <a:gd name="connsiteX10" fmla="*/ 3891932 w 12739414"/>
                <a:gd name="connsiteY10" fmla="*/ 0 h 699805"/>
                <a:gd name="connsiteX11" fmla="*/ 4245080 w 12739414"/>
                <a:gd name="connsiteY11" fmla="*/ 261684 h 699805"/>
                <a:gd name="connsiteX12" fmla="*/ 4598227 w 12739414"/>
                <a:gd name="connsiteY12" fmla="*/ 0 h 699805"/>
                <a:gd name="connsiteX13" fmla="*/ 4951375 w 12739414"/>
                <a:gd name="connsiteY13" fmla="*/ 261684 h 699805"/>
                <a:gd name="connsiteX14" fmla="*/ 5304524 w 12739414"/>
                <a:gd name="connsiteY14" fmla="*/ 0 h 699805"/>
                <a:gd name="connsiteX15" fmla="*/ 5657671 w 12739414"/>
                <a:gd name="connsiteY15" fmla="*/ 261684 h 699805"/>
                <a:gd name="connsiteX16" fmla="*/ 6010817 w 12739414"/>
                <a:gd name="connsiteY16" fmla="*/ 0 h 699805"/>
                <a:gd name="connsiteX17" fmla="*/ 6369707 w 12739414"/>
                <a:gd name="connsiteY17" fmla="*/ 265939 h 699805"/>
                <a:gd name="connsiteX18" fmla="*/ 6728597 w 12739414"/>
                <a:gd name="connsiteY18" fmla="*/ 0 h 699805"/>
                <a:gd name="connsiteX19" fmla="*/ 7081745 w 12739414"/>
                <a:gd name="connsiteY19" fmla="*/ 261684 h 699805"/>
                <a:gd name="connsiteX20" fmla="*/ 7434893 w 12739414"/>
                <a:gd name="connsiteY20" fmla="*/ 0 h 699805"/>
                <a:gd name="connsiteX21" fmla="*/ 7788039 w 12739414"/>
                <a:gd name="connsiteY21" fmla="*/ 261684 h 699805"/>
                <a:gd name="connsiteX22" fmla="*/ 8141187 w 12739414"/>
                <a:gd name="connsiteY22" fmla="*/ 0 h 699805"/>
                <a:gd name="connsiteX23" fmla="*/ 8494336 w 12739414"/>
                <a:gd name="connsiteY23" fmla="*/ 261684 h 699805"/>
                <a:gd name="connsiteX24" fmla="*/ 8847484 w 12739414"/>
                <a:gd name="connsiteY24" fmla="*/ 0 h 699805"/>
                <a:gd name="connsiteX25" fmla="*/ 9200631 w 12739414"/>
                <a:gd name="connsiteY25" fmla="*/ 261684 h 699805"/>
                <a:gd name="connsiteX26" fmla="*/ 9553779 w 12739414"/>
                <a:gd name="connsiteY26" fmla="*/ 0 h 699805"/>
                <a:gd name="connsiteX27" fmla="*/ 9906927 w 12739414"/>
                <a:gd name="connsiteY27" fmla="*/ 261684 h 699805"/>
                <a:gd name="connsiteX28" fmla="*/ 10260074 w 12739414"/>
                <a:gd name="connsiteY28" fmla="*/ 0 h 699805"/>
                <a:gd name="connsiteX29" fmla="*/ 10613222 w 12739414"/>
                <a:gd name="connsiteY29" fmla="*/ 261684 h 699805"/>
                <a:gd name="connsiteX30" fmla="*/ 10966370 w 12739414"/>
                <a:gd name="connsiteY30" fmla="*/ 0 h 699805"/>
                <a:gd name="connsiteX31" fmla="*/ 11319518 w 12739414"/>
                <a:gd name="connsiteY31" fmla="*/ 261684 h 699805"/>
                <a:gd name="connsiteX32" fmla="*/ 11672666 w 12739414"/>
                <a:gd name="connsiteY32" fmla="*/ 0 h 699805"/>
                <a:gd name="connsiteX33" fmla="*/ 12025814 w 12739414"/>
                <a:gd name="connsiteY33" fmla="*/ 261684 h 699805"/>
                <a:gd name="connsiteX34" fmla="*/ 12378960 w 12739414"/>
                <a:gd name="connsiteY34" fmla="*/ 0 h 699805"/>
                <a:gd name="connsiteX35" fmla="*/ 12739414 w 12739414"/>
                <a:gd name="connsiteY35" fmla="*/ 267098 h 699805"/>
                <a:gd name="connsiteX36" fmla="*/ 6510064 w 12739414"/>
                <a:gd name="connsiteY36" fmla="*/ 642655 h 699805"/>
                <a:gd name="connsiteX37" fmla="*/ 6359979 w 12739414"/>
                <a:gd name="connsiteY37" fmla="*/ 699805 h 699805"/>
                <a:gd name="connsiteX38" fmla="*/ 0 w 12739414"/>
                <a:gd name="connsiteY38" fmla="*/ 267098 h 699805"/>
                <a:gd name="connsiteX39" fmla="*/ 360454 w 12739414"/>
                <a:gd name="connsiteY39" fmla="*/ 0 h 699805"/>
                <a:gd name="connsiteX0" fmla="*/ 6510064 w 12739414"/>
                <a:gd name="connsiteY0" fmla="*/ 642655 h 734095"/>
                <a:gd name="connsiteX1" fmla="*/ 6359979 w 12739414"/>
                <a:gd name="connsiteY1" fmla="*/ 699805 h 734095"/>
                <a:gd name="connsiteX2" fmla="*/ 0 w 12739414"/>
                <a:gd name="connsiteY2" fmla="*/ 267098 h 734095"/>
                <a:gd name="connsiteX3" fmla="*/ 360454 w 12739414"/>
                <a:gd name="connsiteY3" fmla="*/ 0 h 734095"/>
                <a:gd name="connsiteX4" fmla="*/ 713602 w 12739414"/>
                <a:gd name="connsiteY4" fmla="*/ 261684 h 734095"/>
                <a:gd name="connsiteX5" fmla="*/ 1066750 w 12739414"/>
                <a:gd name="connsiteY5" fmla="*/ 0 h 734095"/>
                <a:gd name="connsiteX6" fmla="*/ 1419897 w 12739414"/>
                <a:gd name="connsiteY6" fmla="*/ 261684 h 734095"/>
                <a:gd name="connsiteX7" fmla="*/ 1773044 w 12739414"/>
                <a:gd name="connsiteY7" fmla="*/ 0 h 734095"/>
                <a:gd name="connsiteX8" fmla="*/ 2126193 w 12739414"/>
                <a:gd name="connsiteY8" fmla="*/ 261684 h 734095"/>
                <a:gd name="connsiteX9" fmla="*/ 2479341 w 12739414"/>
                <a:gd name="connsiteY9" fmla="*/ 0 h 734095"/>
                <a:gd name="connsiteX10" fmla="*/ 2832489 w 12739414"/>
                <a:gd name="connsiteY10" fmla="*/ 261684 h 734095"/>
                <a:gd name="connsiteX11" fmla="*/ 3185636 w 12739414"/>
                <a:gd name="connsiteY11" fmla="*/ 0 h 734095"/>
                <a:gd name="connsiteX12" fmla="*/ 3538784 w 12739414"/>
                <a:gd name="connsiteY12" fmla="*/ 261684 h 734095"/>
                <a:gd name="connsiteX13" fmla="*/ 3891932 w 12739414"/>
                <a:gd name="connsiteY13" fmla="*/ 0 h 734095"/>
                <a:gd name="connsiteX14" fmla="*/ 4245080 w 12739414"/>
                <a:gd name="connsiteY14" fmla="*/ 261684 h 734095"/>
                <a:gd name="connsiteX15" fmla="*/ 4598227 w 12739414"/>
                <a:gd name="connsiteY15" fmla="*/ 0 h 734095"/>
                <a:gd name="connsiteX16" fmla="*/ 4951375 w 12739414"/>
                <a:gd name="connsiteY16" fmla="*/ 261684 h 734095"/>
                <a:gd name="connsiteX17" fmla="*/ 5304524 w 12739414"/>
                <a:gd name="connsiteY17" fmla="*/ 0 h 734095"/>
                <a:gd name="connsiteX18" fmla="*/ 5657671 w 12739414"/>
                <a:gd name="connsiteY18" fmla="*/ 261684 h 734095"/>
                <a:gd name="connsiteX19" fmla="*/ 6010817 w 12739414"/>
                <a:gd name="connsiteY19" fmla="*/ 0 h 734095"/>
                <a:gd name="connsiteX20" fmla="*/ 6369707 w 12739414"/>
                <a:gd name="connsiteY20" fmla="*/ 265939 h 734095"/>
                <a:gd name="connsiteX21" fmla="*/ 6728597 w 12739414"/>
                <a:gd name="connsiteY21" fmla="*/ 0 h 734095"/>
                <a:gd name="connsiteX22" fmla="*/ 7081745 w 12739414"/>
                <a:gd name="connsiteY22" fmla="*/ 261684 h 734095"/>
                <a:gd name="connsiteX23" fmla="*/ 7434893 w 12739414"/>
                <a:gd name="connsiteY23" fmla="*/ 0 h 734095"/>
                <a:gd name="connsiteX24" fmla="*/ 7788039 w 12739414"/>
                <a:gd name="connsiteY24" fmla="*/ 261684 h 734095"/>
                <a:gd name="connsiteX25" fmla="*/ 8141187 w 12739414"/>
                <a:gd name="connsiteY25" fmla="*/ 0 h 734095"/>
                <a:gd name="connsiteX26" fmla="*/ 8494336 w 12739414"/>
                <a:gd name="connsiteY26" fmla="*/ 261684 h 734095"/>
                <a:gd name="connsiteX27" fmla="*/ 8847484 w 12739414"/>
                <a:gd name="connsiteY27" fmla="*/ 0 h 734095"/>
                <a:gd name="connsiteX28" fmla="*/ 9200631 w 12739414"/>
                <a:gd name="connsiteY28" fmla="*/ 261684 h 734095"/>
                <a:gd name="connsiteX29" fmla="*/ 9553779 w 12739414"/>
                <a:gd name="connsiteY29" fmla="*/ 0 h 734095"/>
                <a:gd name="connsiteX30" fmla="*/ 9906927 w 12739414"/>
                <a:gd name="connsiteY30" fmla="*/ 261684 h 734095"/>
                <a:gd name="connsiteX31" fmla="*/ 10260074 w 12739414"/>
                <a:gd name="connsiteY31" fmla="*/ 0 h 734095"/>
                <a:gd name="connsiteX32" fmla="*/ 10613222 w 12739414"/>
                <a:gd name="connsiteY32" fmla="*/ 261684 h 734095"/>
                <a:gd name="connsiteX33" fmla="*/ 10966370 w 12739414"/>
                <a:gd name="connsiteY33" fmla="*/ 0 h 734095"/>
                <a:gd name="connsiteX34" fmla="*/ 11319518 w 12739414"/>
                <a:gd name="connsiteY34" fmla="*/ 261684 h 734095"/>
                <a:gd name="connsiteX35" fmla="*/ 11672666 w 12739414"/>
                <a:gd name="connsiteY35" fmla="*/ 0 h 734095"/>
                <a:gd name="connsiteX36" fmla="*/ 12025814 w 12739414"/>
                <a:gd name="connsiteY36" fmla="*/ 261684 h 734095"/>
                <a:gd name="connsiteX37" fmla="*/ 12378960 w 12739414"/>
                <a:gd name="connsiteY37" fmla="*/ 0 h 734095"/>
                <a:gd name="connsiteX38" fmla="*/ 12739414 w 12739414"/>
                <a:gd name="connsiteY38" fmla="*/ 267098 h 734095"/>
                <a:gd name="connsiteX39" fmla="*/ 6601504 w 12739414"/>
                <a:gd name="connsiteY39" fmla="*/ 734095 h 734095"/>
                <a:gd name="connsiteX0" fmla="*/ 6510064 w 12739414"/>
                <a:gd name="connsiteY0" fmla="*/ 642655 h 699805"/>
                <a:gd name="connsiteX1" fmla="*/ 6359979 w 12739414"/>
                <a:gd name="connsiteY1" fmla="*/ 699805 h 699805"/>
                <a:gd name="connsiteX2" fmla="*/ 0 w 12739414"/>
                <a:gd name="connsiteY2" fmla="*/ 267098 h 699805"/>
                <a:gd name="connsiteX3" fmla="*/ 360454 w 12739414"/>
                <a:gd name="connsiteY3" fmla="*/ 0 h 699805"/>
                <a:gd name="connsiteX4" fmla="*/ 713602 w 12739414"/>
                <a:gd name="connsiteY4" fmla="*/ 261684 h 699805"/>
                <a:gd name="connsiteX5" fmla="*/ 1066750 w 12739414"/>
                <a:gd name="connsiteY5" fmla="*/ 0 h 699805"/>
                <a:gd name="connsiteX6" fmla="*/ 1419897 w 12739414"/>
                <a:gd name="connsiteY6" fmla="*/ 261684 h 699805"/>
                <a:gd name="connsiteX7" fmla="*/ 1773044 w 12739414"/>
                <a:gd name="connsiteY7" fmla="*/ 0 h 699805"/>
                <a:gd name="connsiteX8" fmla="*/ 2126193 w 12739414"/>
                <a:gd name="connsiteY8" fmla="*/ 261684 h 699805"/>
                <a:gd name="connsiteX9" fmla="*/ 2479341 w 12739414"/>
                <a:gd name="connsiteY9" fmla="*/ 0 h 699805"/>
                <a:gd name="connsiteX10" fmla="*/ 2832489 w 12739414"/>
                <a:gd name="connsiteY10" fmla="*/ 261684 h 699805"/>
                <a:gd name="connsiteX11" fmla="*/ 3185636 w 12739414"/>
                <a:gd name="connsiteY11" fmla="*/ 0 h 699805"/>
                <a:gd name="connsiteX12" fmla="*/ 3538784 w 12739414"/>
                <a:gd name="connsiteY12" fmla="*/ 261684 h 699805"/>
                <a:gd name="connsiteX13" fmla="*/ 3891932 w 12739414"/>
                <a:gd name="connsiteY13" fmla="*/ 0 h 699805"/>
                <a:gd name="connsiteX14" fmla="*/ 4245080 w 12739414"/>
                <a:gd name="connsiteY14" fmla="*/ 261684 h 699805"/>
                <a:gd name="connsiteX15" fmla="*/ 4598227 w 12739414"/>
                <a:gd name="connsiteY15" fmla="*/ 0 h 699805"/>
                <a:gd name="connsiteX16" fmla="*/ 4951375 w 12739414"/>
                <a:gd name="connsiteY16" fmla="*/ 261684 h 699805"/>
                <a:gd name="connsiteX17" fmla="*/ 5304524 w 12739414"/>
                <a:gd name="connsiteY17" fmla="*/ 0 h 699805"/>
                <a:gd name="connsiteX18" fmla="*/ 5657671 w 12739414"/>
                <a:gd name="connsiteY18" fmla="*/ 261684 h 699805"/>
                <a:gd name="connsiteX19" fmla="*/ 6010817 w 12739414"/>
                <a:gd name="connsiteY19" fmla="*/ 0 h 699805"/>
                <a:gd name="connsiteX20" fmla="*/ 6369707 w 12739414"/>
                <a:gd name="connsiteY20" fmla="*/ 265939 h 699805"/>
                <a:gd name="connsiteX21" fmla="*/ 6728597 w 12739414"/>
                <a:gd name="connsiteY21" fmla="*/ 0 h 699805"/>
                <a:gd name="connsiteX22" fmla="*/ 7081745 w 12739414"/>
                <a:gd name="connsiteY22" fmla="*/ 261684 h 699805"/>
                <a:gd name="connsiteX23" fmla="*/ 7434893 w 12739414"/>
                <a:gd name="connsiteY23" fmla="*/ 0 h 699805"/>
                <a:gd name="connsiteX24" fmla="*/ 7788039 w 12739414"/>
                <a:gd name="connsiteY24" fmla="*/ 261684 h 699805"/>
                <a:gd name="connsiteX25" fmla="*/ 8141187 w 12739414"/>
                <a:gd name="connsiteY25" fmla="*/ 0 h 699805"/>
                <a:gd name="connsiteX26" fmla="*/ 8494336 w 12739414"/>
                <a:gd name="connsiteY26" fmla="*/ 261684 h 699805"/>
                <a:gd name="connsiteX27" fmla="*/ 8847484 w 12739414"/>
                <a:gd name="connsiteY27" fmla="*/ 0 h 699805"/>
                <a:gd name="connsiteX28" fmla="*/ 9200631 w 12739414"/>
                <a:gd name="connsiteY28" fmla="*/ 261684 h 699805"/>
                <a:gd name="connsiteX29" fmla="*/ 9553779 w 12739414"/>
                <a:gd name="connsiteY29" fmla="*/ 0 h 699805"/>
                <a:gd name="connsiteX30" fmla="*/ 9906927 w 12739414"/>
                <a:gd name="connsiteY30" fmla="*/ 261684 h 699805"/>
                <a:gd name="connsiteX31" fmla="*/ 10260074 w 12739414"/>
                <a:gd name="connsiteY31" fmla="*/ 0 h 699805"/>
                <a:gd name="connsiteX32" fmla="*/ 10613222 w 12739414"/>
                <a:gd name="connsiteY32" fmla="*/ 261684 h 699805"/>
                <a:gd name="connsiteX33" fmla="*/ 10966370 w 12739414"/>
                <a:gd name="connsiteY33" fmla="*/ 0 h 699805"/>
                <a:gd name="connsiteX34" fmla="*/ 11319518 w 12739414"/>
                <a:gd name="connsiteY34" fmla="*/ 261684 h 699805"/>
                <a:gd name="connsiteX35" fmla="*/ 11672666 w 12739414"/>
                <a:gd name="connsiteY35" fmla="*/ 0 h 699805"/>
                <a:gd name="connsiteX36" fmla="*/ 12025814 w 12739414"/>
                <a:gd name="connsiteY36" fmla="*/ 261684 h 699805"/>
                <a:gd name="connsiteX37" fmla="*/ 12378960 w 12739414"/>
                <a:gd name="connsiteY37" fmla="*/ 0 h 699805"/>
                <a:gd name="connsiteX38" fmla="*/ 12739414 w 12739414"/>
                <a:gd name="connsiteY38" fmla="*/ 267098 h 699805"/>
                <a:gd name="connsiteX0" fmla="*/ 6359979 w 12739414"/>
                <a:gd name="connsiteY0" fmla="*/ 699805 h 699805"/>
                <a:gd name="connsiteX1" fmla="*/ 0 w 12739414"/>
                <a:gd name="connsiteY1" fmla="*/ 267098 h 699805"/>
                <a:gd name="connsiteX2" fmla="*/ 360454 w 12739414"/>
                <a:gd name="connsiteY2" fmla="*/ 0 h 699805"/>
                <a:gd name="connsiteX3" fmla="*/ 713602 w 12739414"/>
                <a:gd name="connsiteY3" fmla="*/ 261684 h 699805"/>
                <a:gd name="connsiteX4" fmla="*/ 1066750 w 12739414"/>
                <a:gd name="connsiteY4" fmla="*/ 0 h 699805"/>
                <a:gd name="connsiteX5" fmla="*/ 1419897 w 12739414"/>
                <a:gd name="connsiteY5" fmla="*/ 261684 h 699805"/>
                <a:gd name="connsiteX6" fmla="*/ 1773044 w 12739414"/>
                <a:gd name="connsiteY6" fmla="*/ 0 h 699805"/>
                <a:gd name="connsiteX7" fmla="*/ 2126193 w 12739414"/>
                <a:gd name="connsiteY7" fmla="*/ 261684 h 699805"/>
                <a:gd name="connsiteX8" fmla="*/ 2479341 w 12739414"/>
                <a:gd name="connsiteY8" fmla="*/ 0 h 699805"/>
                <a:gd name="connsiteX9" fmla="*/ 2832489 w 12739414"/>
                <a:gd name="connsiteY9" fmla="*/ 261684 h 699805"/>
                <a:gd name="connsiteX10" fmla="*/ 3185636 w 12739414"/>
                <a:gd name="connsiteY10" fmla="*/ 0 h 699805"/>
                <a:gd name="connsiteX11" fmla="*/ 3538784 w 12739414"/>
                <a:gd name="connsiteY11" fmla="*/ 261684 h 699805"/>
                <a:gd name="connsiteX12" fmla="*/ 3891932 w 12739414"/>
                <a:gd name="connsiteY12" fmla="*/ 0 h 699805"/>
                <a:gd name="connsiteX13" fmla="*/ 4245080 w 12739414"/>
                <a:gd name="connsiteY13" fmla="*/ 261684 h 699805"/>
                <a:gd name="connsiteX14" fmla="*/ 4598227 w 12739414"/>
                <a:gd name="connsiteY14" fmla="*/ 0 h 699805"/>
                <a:gd name="connsiteX15" fmla="*/ 4951375 w 12739414"/>
                <a:gd name="connsiteY15" fmla="*/ 261684 h 699805"/>
                <a:gd name="connsiteX16" fmla="*/ 5304524 w 12739414"/>
                <a:gd name="connsiteY16" fmla="*/ 0 h 699805"/>
                <a:gd name="connsiteX17" fmla="*/ 5657671 w 12739414"/>
                <a:gd name="connsiteY17" fmla="*/ 261684 h 699805"/>
                <a:gd name="connsiteX18" fmla="*/ 6010817 w 12739414"/>
                <a:gd name="connsiteY18" fmla="*/ 0 h 699805"/>
                <a:gd name="connsiteX19" fmla="*/ 6369707 w 12739414"/>
                <a:gd name="connsiteY19" fmla="*/ 265939 h 699805"/>
                <a:gd name="connsiteX20" fmla="*/ 6728597 w 12739414"/>
                <a:gd name="connsiteY20" fmla="*/ 0 h 699805"/>
                <a:gd name="connsiteX21" fmla="*/ 7081745 w 12739414"/>
                <a:gd name="connsiteY21" fmla="*/ 261684 h 699805"/>
                <a:gd name="connsiteX22" fmla="*/ 7434893 w 12739414"/>
                <a:gd name="connsiteY22" fmla="*/ 0 h 699805"/>
                <a:gd name="connsiteX23" fmla="*/ 7788039 w 12739414"/>
                <a:gd name="connsiteY23" fmla="*/ 261684 h 699805"/>
                <a:gd name="connsiteX24" fmla="*/ 8141187 w 12739414"/>
                <a:gd name="connsiteY24" fmla="*/ 0 h 699805"/>
                <a:gd name="connsiteX25" fmla="*/ 8494336 w 12739414"/>
                <a:gd name="connsiteY25" fmla="*/ 261684 h 699805"/>
                <a:gd name="connsiteX26" fmla="*/ 8847484 w 12739414"/>
                <a:gd name="connsiteY26" fmla="*/ 0 h 699805"/>
                <a:gd name="connsiteX27" fmla="*/ 9200631 w 12739414"/>
                <a:gd name="connsiteY27" fmla="*/ 261684 h 699805"/>
                <a:gd name="connsiteX28" fmla="*/ 9553779 w 12739414"/>
                <a:gd name="connsiteY28" fmla="*/ 0 h 699805"/>
                <a:gd name="connsiteX29" fmla="*/ 9906927 w 12739414"/>
                <a:gd name="connsiteY29" fmla="*/ 261684 h 699805"/>
                <a:gd name="connsiteX30" fmla="*/ 10260074 w 12739414"/>
                <a:gd name="connsiteY30" fmla="*/ 0 h 699805"/>
                <a:gd name="connsiteX31" fmla="*/ 10613222 w 12739414"/>
                <a:gd name="connsiteY31" fmla="*/ 261684 h 699805"/>
                <a:gd name="connsiteX32" fmla="*/ 10966370 w 12739414"/>
                <a:gd name="connsiteY32" fmla="*/ 0 h 699805"/>
                <a:gd name="connsiteX33" fmla="*/ 11319518 w 12739414"/>
                <a:gd name="connsiteY33" fmla="*/ 261684 h 699805"/>
                <a:gd name="connsiteX34" fmla="*/ 11672666 w 12739414"/>
                <a:gd name="connsiteY34" fmla="*/ 0 h 699805"/>
                <a:gd name="connsiteX35" fmla="*/ 12025814 w 12739414"/>
                <a:gd name="connsiteY35" fmla="*/ 261684 h 699805"/>
                <a:gd name="connsiteX36" fmla="*/ 12378960 w 12739414"/>
                <a:gd name="connsiteY36" fmla="*/ 0 h 699805"/>
                <a:gd name="connsiteX37" fmla="*/ 12739414 w 12739414"/>
                <a:gd name="connsiteY37" fmla="*/ 267098 h 699805"/>
                <a:gd name="connsiteX0" fmla="*/ 0 w 12739414"/>
                <a:gd name="connsiteY0" fmla="*/ 267098 h 267098"/>
                <a:gd name="connsiteX1" fmla="*/ 360454 w 12739414"/>
                <a:gd name="connsiteY1" fmla="*/ 0 h 267098"/>
                <a:gd name="connsiteX2" fmla="*/ 713602 w 12739414"/>
                <a:gd name="connsiteY2" fmla="*/ 261684 h 267098"/>
                <a:gd name="connsiteX3" fmla="*/ 1066750 w 12739414"/>
                <a:gd name="connsiteY3" fmla="*/ 0 h 267098"/>
                <a:gd name="connsiteX4" fmla="*/ 1419897 w 12739414"/>
                <a:gd name="connsiteY4" fmla="*/ 261684 h 267098"/>
                <a:gd name="connsiteX5" fmla="*/ 1773044 w 12739414"/>
                <a:gd name="connsiteY5" fmla="*/ 0 h 267098"/>
                <a:gd name="connsiteX6" fmla="*/ 2126193 w 12739414"/>
                <a:gd name="connsiteY6" fmla="*/ 261684 h 267098"/>
                <a:gd name="connsiteX7" fmla="*/ 2479341 w 12739414"/>
                <a:gd name="connsiteY7" fmla="*/ 0 h 267098"/>
                <a:gd name="connsiteX8" fmla="*/ 2832489 w 12739414"/>
                <a:gd name="connsiteY8" fmla="*/ 261684 h 267098"/>
                <a:gd name="connsiteX9" fmla="*/ 3185636 w 12739414"/>
                <a:gd name="connsiteY9" fmla="*/ 0 h 267098"/>
                <a:gd name="connsiteX10" fmla="*/ 3538784 w 12739414"/>
                <a:gd name="connsiteY10" fmla="*/ 261684 h 267098"/>
                <a:gd name="connsiteX11" fmla="*/ 3891932 w 12739414"/>
                <a:gd name="connsiteY11" fmla="*/ 0 h 267098"/>
                <a:gd name="connsiteX12" fmla="*/ 4245080 w 12739414"/>
                <a:gd name="connsiteY12" fmla="*/ 261684 h 267098"/>
                <a:gd name="connsiteX13" fmla="*/ 4598227 w 12739414"/>
                <a:gd name="connsiteY13" fmla="*/ 0 h 267098"/>
                <a:gd name="connsiteX14" fmla="*/ 4951375 w 12739414"/>
                <a:gd name="connsiteY14" fmla="*/ 261684 h 267098"/>
                <a:gd name="connsiteX15" fmla="*/ 5304524 w 12739414"/>
                <a:gd name="connsiteY15" fmla="*/ 0 h 267098"/>
                <a:gd name="connsiteX16" fmla="*/ 5657671 w 12739414"/>
                <a:gd name="connsiteY16" fmla="*/ 261684 h 267098"/>
                <a:gd name="connsiteX17" fmla="*/ 6010817 w 12739414"/>
                <a:gd name="connsiteY17" fmla="*/ 0 h 267098"/>
                <a:gd name="connsiteX18" fmla="*/ 6369707 w 12739414"/>
                <a:gd name="connsiteY18" fmla="*/ 265939 h 267098"/>
                <a:gd name="connsiteX19" fmla="*/ 6728597 w 12739414"/>
                <a:gd name="connsiteY19" fmla="*/ 0 h 267098"/>
                <a:gd name="connsiteX20" fmla="*/ 7081745 w 12739414"/>
                <a:gd name="connsiteY20" fmla="*/ 261684 h 267098"/>
                <a:gd name="connsiteX21" fmla="*/ 7434893 w 12739414"/>
                <a:gd name="connsiteY21" fmla="*/ 0 h 267098"/>
                <a:gd name="connsiteX22" fmla="*/ 7788039 w 12739414"/>
                <a:gd name="connsiteY22" fmla="*/ 261684 h 267098"/>
                <a:gd name="connsiteX23" fmla="*/ 8141187 w 12739414"/>
                <a:gd name="connsiteY23" fmla="*/ 0 h 267098"/>
                <a:gd name="connsiteX24" fmla="*/ 8494336 w 12739414"/>
                <a:gd name="connsiteY24" fmla="*/ 261684 h 267098"/>
                <a:gd name="connsiteX25" fmla="*/ 8847484 w 12739414"/>
                <a:gd name="connsiteY25" fmla="*/ 0 h 267098"/>
                <a:gd name="connsiteX26" fmla="*/ 9200631 w 12739414"/>
                <a:gd name="connsiteY26" fmla="*/ 261684 h 267098"/>
                <a:gd name="connsiteX27" fmla="*/ 9553779 w 12739414"/>
                <a:gd name="connsiteY27" fmla="*/ 0 h 267098"/>
                <a:gd name="connsiteX28" fmla="*/ 9906927 w 12739414"/>
                <a:gd name="connsiteY28" fmla="*/ 261684 h 267098"/>
                <a:gd name="connsiteX29" fmla="*/ 10260074 w 12739414"/>
                <a:gd name="connsiteY29" fmla="*/ 0 h 267098"/>
                <a:gd name="connsiteX30" fmla="*/ 10613222 w 12739414"/>
                <a:gd name="connsiteY30" fmla="*/ 261684 h 267098"/>
                <a:gd name="connsiteX31" fmla="*/ 10966370 w 12739414"/>
                <a:gd name="connsiteY31" fmla="*/ 0 h 267098"/>
                <a:gd name="connsiteX32" fmla="*/ 11319518 w 12739414"/>
                <a:gd name="connsiteY32" fmla="*/ 261684 h 267098"/>
                <a:gd name="connsiteX33" fmla="*/ 11672666 w 12739414"/>
                <a:gd name="connsiteY33" fmla="*/ 0 h 267098"/>
                <a:gd name="connsiteX34" fmla="*/ 12025814 w 12739414"/>
                <a:gd name="connsiteY34" fmla="*/ 261684 h 267098"/>
                <a:gd name="connsiteX35" fmla="*/ 12378960 w 12739414"/>
                <a:gd name="connsiteY35" fmla="*/ 0 h 267098"/>
                <a:gd name="connsiteX36" fmla="*/ 12739414 w 12739414"/>
                <a:gd name="connsiteY36" fmla="*/ 267098 h 267098"/>
                <a:gd name="connsiteX0" fmla="*/ 0 w 12378960"/>
                <a:gd name="connsiteY0" fmla="*/ 267098 h 267098"/>
                <a:gd name="connsiteX1" fmla="*/ 360454 w 12378960"/>
                <a:gd name="connsiteY1" fmla="*/ 0 h 267098"/>
                <a:gd name="connsiteX2" fmla="*/ 713602 w 12378960"/>
                <a:gd name="connsiteY2" fmla="*/ 261684 h 267098"/>
                <a:gd name="connsiteX3" fmla="*/ 1066750 w 12378960"/>
                <a:gd name="connsiteY3" fmla="*/ 0 h 267098"/>
                <a:gd name="connsiteX4" fmla="*/ 1419897 w 12378960"/>
                <a:gd name="connsiteY4" fmla="*/ 261684 h 267098"/>
                <a:gd name="connsiteX5" fmla="*/ 1773044 w 12378960"/>
                <a:gd name="connsiteY5" fmla="*/ 0 h 267098"/>
                <a:gd name="connsiteX6" fmla="*/ 2126193 w 12378960"/>
                <a:gd name="connsiteY6" fmla="*/ 261684 h 267098"/>
                <a:gd name="connsiteX7" fmla="*/ 2479341 w 12378960"/>
                <a:gd name="connsiteY7" fmla="*/ 0 h 267098"/>
                <a:gd name="connsiteX8" fmla="*/ 2832489 w 12378960"/>
                <a:gd name="connsiteY8" fmla="*/ 261684 h 267098"/>
                <a:gd name="connsiteX9" fmla="*/ 3185636 w 12378960"/>
                <a:gd name="connsiteY9" fmla="*/ 0 h 267098"/>
                <a:gd name="connsiteX10" fmla="*/ 3538784 w 12378960"/>
                <a:gd name="connsiteY10" fmla="*/ 261684 h 267098"/>
                <a:gd name="connsiteX11" fmla="*/ 3891932 w 12378960"/>
                <a:gd name="connsiteY11" fmla="*/ 0 h 267098"/>
                <a:gd name="connsiteX12" fmla="*/ 4245080 w 12378960"/>
                <a:gd name="connsiteY12" fmla="*/ 261684 h 267098"/>
                <a:gd name="connsiteX13" fmla="*/ 4598227 w 12378960"/>
                <a:gd name="connsiteY13" fmla="*/ 0 h 267098"/>
                <a:gd name="connsiteX14" fmla="*/ 4951375 w 12378960"/>
                <a:gd name="connsiteY14" fmla="*/ 261684 h 267098"/>
                <a:gd name="connsiteX15" fmla="*/ 5304524 w 12378960"/>
                <a:gd name="connsiteY15" fmla="*/ 0 h 267098"/>
                <a:gd name="connsiteX16" fmla="*/ 5657671 w 12378960"/>
                <a:gd name="connsiteY16" fmla="*/ 261684 h 267098"/>
                <a:gd name="connsiteX17" fmla="*/ 6010817 w 12378960"/>
                <a:gd name="connsiteY17" fmla="*/ 0 h 267098"/>
                <a:gd name="connsiteX18" fmla="*/ 6369707 w 12378960"/>
                <a:gd name="connsiteY18" fmla="*/ 265939 h 267098"/>
                <a:gd name="connsiteX19" fmla="*/ 6728597 w 12378960"/>
                <a:gd name="connsiteY19" fmla="*/ 0 h 267098"/>
                <a:gd name="connsiteX20" fmla="*/ 7081745 w 12378960"/>
                <a:gd name="connsiteY20" fmla="*/ 261684 h 267098"/>
                <a:gd name="connsiteX21" fmla="*/ 7434893 w 12378960"/>
                <a:gd name="connsiteY21" fmla="*/ 0 h 267098"/>
                <a:gd name="connsiteX22" fmla="*/ 7788039 w 12378960"/>
                <a:gd name="connsiteY22" fmla="*/ 261684 h 267098"/>
                <a:gd name="connsiteX23" fmla="*/ 8141187 w 12378960"/>
                <a:gd name="connsiteY23" fmla="*/ 0 h 267098"/>
                <a:gd name="connsiteX24" fmla="*/ 8494336 w 12378960"/>
                <a:gd name="connsiteY24" fmla="*/ 261684 h 267098"/>
                <a:gd name="connsiteX25" fmla="*/ 8847484 w 12378960"/>
                <a:gd name="connsiteY25" fmla="*/ 0 h 267098"/>
                <a:gd name="connsiteX26" fmla="*/ 9200631 w 12378960"/>
                <a:gd name="connsiteY26" fmla="*/ 261684 h 267098"/>
                <a:gd name="connsiteX27" fmla="*/ 9553779 w 12378960"/>
                <a:gd name="connsiteY27" fmla="*/ 0 h 267098"/>
                <a:gd name="connsiteX28" fmla="*/ 9906927 w 12378960"/>
                <a:gd name="connsiteY28" fmla="*/ 261684 h 267098"/>
                <a:gd name="connsiteX29" fmla="*/ 10260074 w 12378960"/>
                <a:gd name="connsiteY29" fmla="*/ 0 h 267098"/>
                <a:gd name="connsiteX30" fmla="*/ 10613222 w 12378960"/>
                <a:gd name="connsiteY30" fmla="*/ 261684 h 267098"/>
                <a:gd name="connsiteX31" fmla="*/ 10966370 w 12378960"/>
                <a:gd name="connsiteY31" fmla="*/ 0 h 267098"/>
                <a:gd name="connsiteX32" fmla="*/ 11319518 w 12378960"/>
                <a:gd name="connsiteY32" fmla="*/ 261684 h 267098"/>
                <a:gd name="connsiteX33" fmla="*/ 11672666 w 12378960"/>
                <a:gd name="connsiteY33" fmla="*/ 0 h 267098"/>
                <a:gd name="connsiteX34" fmla="*/ 12025814 w 12378960"/>
                <a:gd name="connsiteY34" fmla="*/ 261684 h 267098"/>
                <a:gd name="connsiteX35" fmla="*/ 12378960 w 12378960"/>
                <a:gd name="connsiteY35" fmla="*/ 0 h 267098"/>
                <a:gd name="connsiteX0" fmla="*/ 0 w 12025815"/>
                <a:gd name="connsiteY0" fmla="*/ 267098 h 267098"/>
                <a:gd name="connsiteX1" fmla="*/ 360454 w 12025815"/>
                <a:gd name="connsiteY1" fmla="*/ 0 h 267098"/>
                <a:gd name="connsiteX2" fmla="*/ 713602 w 12025815"/>
                <a:gd name="connsiteY2" fmla="*/ 261684 h 267098"/>
                <a:gd name="connsiteX3" fmla="*/ 1066750 w 12025815"/>
                <a:gd name="connsiteY3" fmla="*/ 0 h 267098"/>
                <a:gd name="connsiteX4" fmla="*/ 1419897 w 12025815"/>
                <a:gd name="connsiteY4" fmla="*/ 261684 h 267098"/>
                <a:gd name="connsiteX5" fmla="*/ 1773044 w 12025815"/>
                <a:gd name="connsiteY5" fmla="*/ 0 h 267098"/>
                <a:gd name="connsiteX6" fmla="*/ 2126193 w 12025815"/>
                <a:gd name="connsiteY6" fmla="*/ 261684 h 267098"/>
                <a:gd name="connsiteX7" fmla="*/ 2479341 w 12025815"/>
                <a:gd name="connsiteY7" fmla="*/ 0 h 267098"/>
                <a:gd name="connsiteX8" fmla="*/ 2832489 w 12025815"/>
                <a:gd name="connsiteY8" fmla="*/ 261684 h 267098"/>
                <a:gd name="connsiteX9" fmla="*/ 3185636 w 12025815"/>
                <a:gd name="connsiteY9" fmla="*/ 0 h 267098"/>
                <a:gd name="connsiteX10" fmla="*/ 3538784 w 12025815"/>
                <a:gd name="connsiteY10" fmla="*/ 261684 h 267098"/>
                <a:gd name="connsiteX11" fmla="*/ 3891932 w 12025815"/>
                <a:gd name="connsiteY11" fmla="*/ 0 h 267098"/>
                <a:gd name="connsiteX12" fmla="*/ 4245080 w 12025815"/>
                <a:gd name="connsiteY12" fmla="*/ 261684 h 267098"/>
                <a:gd name="connsiteX13" fmla="*/ 4598227 w 12025815"/>
                <a:gd name="connsiteY13" fmla="*/ 0 h 267098"/>
                <a:gd name="connsiteX14" fmla="*/ 4951375 w 12025815"/>
                <a:gd name="connsiteY14" fmla="*/ 261684 h 267098"/>
                <a:gd name="connsiteX15" fmla="*/ 5304524 w 12025815"/>
                <a:gd name="connsiteY15" fmla="*/ 0 h 267098"/>
                <a:gd name="connsiteX16" fmla="*/ 5657671 w 12025815"/>
                <a:gd name="connsiteY16" fmla="*/ 261684 h 267098"/>
                <a:gd name="connsiteX17" fmla="*/ 6010817 w 12025815"/>
                <a:gd name="connsiteY17" fmla="*/ 0 h 267098"/>
                <a:gd name="connsiteX18" fmla="*/ 6369707 w 12025815"/>
                <a:gd name="connsiteY18" fmla="*/ 265939 h 267098"/>
                <a:gd name="connsiteX19" fmla="*/ 6728597 w 12025815"/>
                <a:gd name="connsiteY19" fmla="*/ 0 h 267098"/>
                <a:gd name="connsiteX20" fmla="*/ 7081745 w 12025815"/>
                <a:gd name="connsiteY20" fmla="*/ 261684 h 267098"/>
                <a:gd name="connsiteX21" fmla="*/ 7434893 w 12025815"/>
                <a:gd name="connsiteY21" fmla="*/ 0 h 267098"/>
                <a:gd name="connsiteX22" fmla="*/ 7788039 w 12025815"/>
                <a:gd name="connsiteY22" fmla="*/ 261684 h 267098"/>
                <a:gd name="connsiteX23" fmla="*/ 8141187 w 12025815"/>
                <a:gd name="connsiteY23" fmla="*/ 0 h 267098"/>
                <a:gd name="connsiteX24" fmla="*/ 8494336 w 12025815"/>
                <a:gd name="connsiteY24" fmla="*/ 261684 h 267098"/>
                <a:gd name="connsiteX25" fmla="*/ 8847484 w 12025815"/>
                <a:gd name="connsiteY25" fmla="*/ 0 h 267098"/>
                <a:gd name="connsiteX26" fmla="*/ 9200631 w 12025815"/>
                <a:gd name="connsiteY26" fmla="*/ 261684 h 267098"/>
                <a:gd name="connsiteX27" fmla="*/ 9553779 w 12025815"/>
                <a:gd name="connsiteY27" fmla="*/ 0 h 267098"/>
                <a:gd name="connsiteX28" fmla="*/ 9906927 w 12025815"/>
                <a:gd name="connsiteY28" fmla="*/ 261684 h 267098"/>
                <a:gd name="connsiteX29" fmla="*/ 10260074 w 12025815"/>
                <a:gd name="connsiteY29" fmla="*/ 0 h 267098"/>
                <a:gd name="connsiteX30" fmla="*/ 10613222 w 12025815"/>
                <a:gd name="connsiteY30" fmla="*/ 261684 h 267098"/>
                <a:gd name="connsiteX31" fmla="*/ 10966370 w 12025815"/>
                <a:gd name="connsiteY31" fmla="*/ 0 h 267098"/>
                <a:gd name="connsiteX32" fmla="*/ 11319518 w 12025815"/>
                <a:gd name="connsiteY32" fmla="*/ 261684 h 267098"/>
                <a:gd name="connsiteX33" fmla="*/ 11672666 w 12025815"/>
                <a:gd name="connsiteY33" fmla="*/ 0 h 267098"/>
                <a:gd name="connsiteX34" fmla="*/ 12025814 w 12025815"/>
                <a:gd name="connsiteY34" fmla="*/ 261684 h 267098"/>
                <a:gd name="connsiteX0" fmla="*/ 0 w 11672666"/>
                <a:gd name="connsiteY0" fmla="*/ 267098 h 267098"/>
                <a:gd name="connsiteX1" fmla="*/ 360454 w 11672666"/>
                <a:gd name="connsiteY1" fmla="*/ 0 h 267098"/>
                <a:gd name="connsiteX2" fmla="*/ 713602 w 11672666"/>
                <a:gd name="connsiteY2" fmla="*/ 261684 h 267098"/>
                <a:gd name="connsiteX3" fmla="*/ 1066750 w 11672666"/>
                <a:gd name="connsiteY3" fmla="*/ 0 h 267098"/>
                <a:gd name="connsiteX4" fmla="*/ 1419897 w 11672666"/>
                <a:gd name="connsiteY4" fmla="*/ 261684 h 267098"/>
                <a:gd name="connsiteX5" fmla="*/ 1773044 w 11672666"/>
                <a:gd name="connsiteY5" fmla="*/ 0 h 267098"/>
                <a:gd name="connsiteX6" fmla="*/ 2126193 w 11672666"/>
                <a:gd name="connsiteY6" fmla="*/ 261684 h 267098"/>
                <a:gd name="connsiteX7" fmla="*/ 2479341 w 11672666"/>
                <a:gd name="connsiteY7" fmla="*/ 0 h 267098"/>
                <a:gd name="connsiteX8" fmla="*/ 2832489 w 11672666"/>
                <a:gd name="connsiteY8" fmla="*/ 261684 h 267098"/>
                <a:gd name="connsiteX9" fmla="*/ 3185636 w 11672666"/>
                <a:gd name="connsiteY9" fmla="*/ 0 h 267098"/>
                <a:gd name="connsiteX10" fmla="*/ 3538784 w 11672666"/>
                <a:gd name="connsiteY10" fmla="*/ 261684 h 267098"/>
                <a:gd name="connsiteX11" fmla="*/ 3891932 w 11672666"/>
                <a:gd name="connsiteY11" fmla="*/ 0 h 267098"/>
                <a:gd name="connsiteX12" fmla="*/ 4245080 w 11672666"/>
                <a:gd name="connsiteY12" fmla="*/ 261684 h 267098"/>
                <a:gd name="connsiteX13" fmla="*/ 4598227 w 11672666"/>
                <a:gd name="connsiteY13" fmla="*/ 0 h 267098"/>
                <a:gd name="connsiteX14" fmla="*/ 4951375 w 11672666"/>
                <a:gd name="connsiteY14" fmla="*/ 261684 h 267098"/>
                <a:gd name="connsiteX15" fmla="*/ 5304524 w 11672666"/>
                <a:gd name="connsiteY15" fmla="*/ 0 h 267098"/>
                <a:gd name="connsiteX16" fmla="*/ 5657671 w 11672666"/>
                <a:gd name="connsiteY16" fmla="*/ 261684 h 267098"/>
                <a:gd name="connsiteX17" fmla="*/ 6010817 w 11672666"/>
                <a:gd name="connsiteY17" fmla="*/ 0 h 267098"/>
                <a:gd name="connsiteX18" fmla="*/ 6369707 w 11672666"/>
                <a:gd name="connsiteY18" fmla="*/ 265939 h 267098"/>
                <a:gd name="connsiteX19" fmla="*/ 6728597 w 11672666"/>
                <a:gd name="connsiteY19" fmla="*/ 0 h 267098"/>
                <a:gd name="connsiteX20" fmla="*/ 7081745 w 11672666"/>
                <a:gd name="connsiteY20" fmla="*/ 261684 h 267098"/>
                <a:gd name="connsiteX21" fmla="*/ 7434893 w 11672666"/>
                <a:gd name="connsiteY21" fmla="*/ 0 h 267098"/>
                <a:gd name="connsiteX22" fmla="*/ 7788039 w 11672666"/>
                <a:gd name="connsiteY22" fmla="*/ 261684 h 267098"/>
                <a:gd name="connsiteX23" fmla="*/ 8141187 w 11672666"/>
                <a:gd name="connsiteY23" fmla="*/ 0 h 267098"/>
                <a:gd name="connsiteX24" fmla="*/ 8494336 w 11672666"/>
                <a:gd name="connsiteY24" fmla="*/ 261684 h 267098"/>
                <a:gd name="connsiteX25" fmla="*/ 8847484 w 11672666"/>
                <a:gd name="connsiteY25" fmla="*/ 0 h 267098"/>
                <a:gd name="connsiteX26" fmla="*/ 9200631 w 11672666"/>
                <a:gd name="connsiteY26" fmla="*/ 261684 h 267098"/>
                <a:gd name="connsiteX27" fmla="*/ 9553779 w 11672666"/>
                <a:gd name="connsiteY27" fmla="*/ 0 h 267098"/>
                <a:gd name="connsiteX28" fmla="*/ 9906927 w 11672666"/>
                <a:gd name="connsiteY28" fmla="*/ 261684 h 267098"/>
                <a:gd name="connsiteX29" fmla="*/ 10260074 w 11672666"/>
                <a:gd name="connsiteY29" fmla="*/ 0 h 267098"/>
                <a:gd name="connsiteX30" fmla="*/ 10613222 w 11672666"/>
                <a:gd name="connsiteY30" fmla="*/ 261684 h 267098"/>
                <a:gd name="connsiteX31" fmla="*/ 10966370 w 11672666"/>
                <a:gd name="connsiteY31" fmla="*/ 0 h 267098"/>
                <a:gd name="connsiteX32" fmla="*/ 11319518 w 11672666"/>
                <a:gd name="connsiteY32" fmla="*/ 261684 h 267098"/>
                <a:gd name="connsiteX33" fmla="*/ 11672666 w 11672666"/>
                <a:gd name="connsiteY33" fmla="*/ 0 h 267098"/>
                <a:gd name="connsiteX0" fmla="*/ 0 w 11319518"/>
                <a:gd name="connsiteY0" fmla="*/ 267098 h 267098"/>
                <a:gd name="connsiteX1" fmla="*/ 360454 w 11319518"/>
                <a:gd name="connsiteY1" fmla="*/ 0 h 267098"/>
                <a:gd name="connsiteX2" fmla="*/ 713602 w 11319518"/>
                <a:gd name="connsiteY2" fmla="*/ 261684 h 267098"/>
                <a:gd name="connsiteX3" fmla="*/ 1066750 w 11319518"/>
                <a:gd name="connsiteY3" fmla="*/ 0 h 267098"/>
                <a:gd name="connsiteX4" fmla="*/ 1419897 w 11319518"/>
                <a:gd name="connsiteY4" fmla="*/ 261684 h 267098"/>
                <a:gd name="connsiteX5" fmla="*/ 1773044 w 11319518"/>
                <a:gd name="connsiteY5" fmla="*/ 0 h 267098"/>
                <a:gd name="connsiteX6" fmla="*/ 2126193 w 11319518"/>
                <a:gd name="connsiteY6" fmla="*/ 261684 h 267098"/>
                <a:gd name="connsiteX7" fmla="*/ 2479341 w 11319518"/>
                <a:gd name="connsiteY7" fmla="*/ 0 h 267098"/>
                <a:gd name="connsiteX8" fmla="*/ 2832489 w 11319518"/>
                <a:gd name="connsiteY8" fmla="*/ 261684 h 267098"/>
                <a:gd name="connsiteX9" fmla="*/ 3185636 w 11319518"/>
                <a:gd name="connsiteY9" fmla="*/ 0 h 267098"/>
                <a:gd name="connsiteX10" fmla="*/ 3538784 w 11319518"/>
                <a:gd name="connsiteY10" fmla="*/ 261684 h 267098"/>
                <a:gd name="connsiteX11" fmla="*/ 3891932 w 11319518"/>
                <a:gd name="connsiteY11" fmla="*/ 0 h 267098"/>
                <a:gd name="connsiteX12" fmla="*/ 4245080 w 11319518"/>
                <a:gd name="connsiteY12" fmla="*/ 261684 h 267098"/>
                <a:gd name="connsiteX13" fmla="*/ 4598227 w 11319518"/>
                <a:gd name="connsiteY13" fmla="*/ 0 h 267098"/>
                <a:gd name="connsiteX14" fmla="*/ 4951375 w 11319518"/>
                <a:gd name="connsiteY14" fmla="*/ 261684 h 267098"/>
                <a:gd name="connsiteX15" fmla="*/ 5304524 w 11319518"/>
                <a:gd name="connsiteY15" fmla="*/ 0 h 267098"/>
                <a:gd name="connsiteX16" fmla="*/ 5657671 w 11319518"/>
                <a:gd name="connsiteY16" fmla="*/ 261684 h 267098"/>
                <a:gd name="connsiteX17" fmla="*/ 6010817 w 11319518"/>
                <a:gd name="connsiteY17" fmla="*/ 0 h 267098"/>
                <a:gd name="connsiteX18" fmla="*/ 6369707 w 11319518"/>
                <a:gd name="connsiteY18" fmla="*/ 265939 h 267098"/>
                <a:gd name="connsiteX19" fmla="*/ 6728597 w 11319518"/>
                <a:gd name="connsiteY19" fmla="*/ 0 h 267098"/>
                <a:gd name="connsiteX20" fmla="*/ 7081745 w 11319518"/>
                <a:gd name="connsiteY20" fmla="*/ 261684 h 267098"/>
                <a:gd name="connsiteX21" fmla="*/ 7434893 w 11319518"/>
                <a:gd name="connsiteY21" fmla="*/ 0 h 267098"/>
                <a:gd name="connsiteX22" fmla="*/ 7788039 w 11319518"/>
                <a:gd name="connsiteY22" fmla="*/ 261684 h 267098"/>
                <a:gd name="connsiteX23" fmla="*/ 8141187 w 11319518"/>
                <a:gd name="connsiteY23" fmla="*/ 0 h 267098"/>
                <a:gd name="connsiteX24" fmla="*/ 8494336 w 11319518"/>
                <a:gd name="connsiteY24" fmla="*/ 261684 h 267098"/>
                <a:gd name="connsiteX25" fmla="*/ 8847484 w 11319518"/>
                <a:gd name="connsiteY25" fmla="*/ 0 h 267098"/>
                <a:gd name="connsiteX26" fmla="*/ 9200631 w 11319518"/>
                <a:gd name="connsiteY26" fmla="*/ 261684 h 267098"/>
                <a:gd name="connsiteX27" fmla="*/ 9553779 w 11319518"/>
                <a:gd name="connsiteY27" fmla="*/ 0 h 267098"/>
                <a:gd name="connsiteX28" fmla="*/ 9906927 w 11319518"/>
                <a:gd name="connsiteY28" fmla="*/ 261684 h 267098"/>
                <a:gd name="connsiteX29" fmla="*/ 10260074 w 11319518"/>
                <a:gd name="connsiteY29" fmla="*/ 0 h 267098"/>
                <a:gd name="connsiteX30" fmla="*/ 10613222 w 11319518"/>
                <a:gd name="connsiteY30" fmla="*/ 261684 h 267098"/>
                <a:gd name="connsiteX31" fmla="*/ 10966370 w 11319518"/>
                <a:gd name="connsiteY31" fmla="*/ 0 h 267098"/>
                <a:gd name="connsiteX32" fmla="*/ 11319518 w 11319518"/>
                <a:gd name="connsiteY32" fmla="*/ 261684 h 267098"/>
                <a:gd name="connsiteX0" fmla="*/ 0 w 10966370"/>
                <a:gd name="connsiteY0" fmla="*/ 267098 h 267098"/>
                <a:gd name="connsiteX1" fmla="*/ 360454 w 10966370"/>
                <a:gd name="connsiteY1" fmla="*/ 0 h 267098"/>
                <a:gd name="connsiteX2" fmla="*/ 713602 w 10966370"/>
                <a:gd name="connsiteY2" fmla="*/ 261684 h 267098"/>
                <a:gd name="connsiteX3" fmla="*/ 1066750 w 10966370"/>
                <a:gd name="connsiteY3" fmla="*/ 0 h 267098"/>
                <a:gd name="connsiteX4" fmla="*/ 1419897 w 10966370"/>
                <a:gd name="connsiteY4" fmla="*/ 261684 h 267098"/>
                <a:gd name="connsiteX5" fmla="*/ 1773044 w 10966370"/>
                <a:gd name="connsiteY5" fmla="*/ 0 h 267098"/>
                <a:gd name="connsiteX6" fmla="*/ 2126193 w 10966370"/>
                <a:gd name="connsiteY6" fmla="*/ 261684 h 267098"/>
                <a:gd name="connsiteX7" fmla="*/ 2479341 w 10966370"/>
                <a:gd name="connsiteY7" fmla="*/ 0 h 267098"/>
                <a:gd name="connsiteX8" fmla="*/ 2832489 w 10966370"/>
                <a:gd name="connsiteY8" fmla="*/ 261684 h 267098"/>
                <a:gd name="connsiteX9" fmla="*/ 3185636 w 10966370"/>
                <a:gd name="connsiteY9" fmla="*/ 0 h 267098"/>
                <a:gd name="connsiteX10" fmla="*/ 3538784 w 10966370"/>
                <a:gd name="connsiteY10" fmla="*/ 261684 h 267098"/>
                <a:gd name="connsiteX11" fmla="*/ 3891932 w 10966370"/>
                <a:gd name="connsiteY11" fmla="*/ 0 h 267098"/>
                <a:gd name="connsiteX12" fmla="*/ 4245080 w 10966370"/>
                <a:gd name="connsiteY12" fmla="*/ 261684 h 267098"/>
                <a:gd name="connsiteX13" fmla="*/ 4598227 w 10966370"/>
                <a:gd name="connsiteY13" fmla="*/ 0 h 267098"/>
                <a:gd name="connsiteX14" fmla="*/ 4951375 w 10966370"/>
                <a:gd name="connsiteY14" fmla="*/ 261684 h 267098"/>
                <a:gd name="connsiteX15" fmla="*/ 5304524 w 10966370"/>
                <a:gd name="connsiteY15" fmla="*/ 0 h 267098"/>
                <a:gd name="connsiteX16" fmla="*/ 5657671 w 10966370"/>
                <a:gd name="connsiteY16" fmla="*/ 261684 h 267098"/>
                <a:gd name="connsiteX17" fmla="*/ 6010817 w 10966370"/>
                <a:gd name="connsiteY17" fmla="*/ 0 h 267098"/>
                <a:gd name="connsiteX18" fmla="*/ 6369707 w 10966370"/>
                <a:gd name="connsiteY18" fmla="*/ 265939 h 267098"/>
                <a:gd name="connsiteX19" fmla="*/ 6728597 w 10966370"/>
                <a:gd name="connsiteY19" fmla="*/ 0 h 267098"/>
                <a:gd name="connsiteX20" fmla="*/ 7081745 w 10966370"/>
                <a:gd name="connsiteY20" fmla="*/ 261684 h 267098"/>
                <a:gd name="connsiteX21" fmla="*/ 7434893 w 10966370"/>
                <a:gd name="connsiteY21" fmla="*/ 0 h 267098"/>
                <a:gd name="connsiteX22" fmla="*/ 7788039 w 10966370"/>
                <a:gd name="connsiteY22" fmla="*/ 261684 h 267098"/>
                <a:gd name="connsiteX23" fmla="*/ 8141187 w 10966370"/>
                <a:gd name="connsiteY23" fmla="*/ 0 h 267098"/>
                <a:gd name="connsiteX24" fmla="*/ 8494336 w 10966370"/>
                <a:gd name="connsiteY24" fmla="*/ 261684 h 267098"/>
                <a:gd name="connsiteX25" fmla="*/ 8847484 w 10966370"/>
                <a:gd name="connsiteY25" fmla="*/ 0 h 267098"/>
                <a:gd name="connsiteX26" fmla="*/ 9200631 w 10966370"/>
                <a:gd name="connsiteY26" fmla="*/ 261684 h 267098"/>
                <a:gd name="connsiteX27" fmla="*/ 9553779 w 10966370"/>
                <a:gd name="connsiteY27" fmla="*/ 0 h 267098"/>
                <a:gd name="connsiteX28" fmla="*/ 9906927 w 10966370"/>
                <a:gd name="connsiteY28" fmla="*/ 261684 h 267098"/>
                <a:gd name="connsiteX29" fmla="*/ 10260074 w 10966370"/>
                <a:gd name="connsiteY29" fmla="*/ 0 h 267098"/>
                <a:gd name="connsiteX30" fmla="*/ 10613222 w 10966370"/>
                <a:gd name="connsiteY30" fmla="*/ 261684 h 267098"/>
                <a:gd name="connsiteX31" fmla="*/ 10966370 w 10966370"/>
                <a:gd name="connsiteY31" fmla="*/ 0 h 267098"/>
                <a:gd name="connsiteX0" fmla="*/ 0 w 10613222"/>
                <a:gd name="connsiteY0" fmla="*/ 267098 h 267098"/>
                <a:gd name="connsiteX1" fmla="*/ 360454 w 10613222"/>
                <a:gd name="connsiteY1" fmla="*/ 0 h 267098"/>
                <a:gd name="connsiteX2" fmla="*/ 713602 w 10613222"/>
                <a:gd name="connsiteY2" fmla="*/ 261684 h 267098"/>
                <a:gd name="connsiteX3" fmla="*/ 1066750 w 10613222"/>
                <a:gd name="connsiteY3" fmla="*/ 0 h 267098"/>
                <a:gd name="connsiteX4" fmla="*/ 1419897 w 10613222"/>
                <a:gd name="connsiteY4" fmla="*/ 261684 h 267098"/>
                <a:gd name="connsiteX5" fmla="*/ 1773044 w 10613222"/>
                <a:gd name="connsiteY5" fmla="*/ 0 h 267098"/>
                <a:gd name="connsiteX6" fmla="*/ 2126193 w 10613222"/>
                <a:gd name="connsiteY6" fmla="*/ 261684 h 267098"/>
                <a:gd name="connsiteX7" fmla="*/ 2479341 w 10613222"/>
                <a:gd name="connsiteY7" fmla="*/ 0 h 267098"/>
                <a:gd name="connsiteX8" fmla="*/ 2832489 w 10613222"/>
                <a:gd name="connsiteY8" fmla="*/ 261684 h 267098"/>
                <a:gd name="connsiteX9" fmla="*/ 3185636 w 10613222"/>
                <a:gd name="connsiteY9" fmla="*/ 0 h 267098"/>
                <a:gd name="connsiteX10" fmla="*/ 3538784 w 10613222"/>
                <a:gd name="connsiteY10" fmla="*/ 261684 h 267098"/>
                <a:gd name="connsiteX11" fmla="*/ 3891932 w 10613222"/>
                <a:gd name="connsiteY11" fmla="*/ 0 h 267098"/>
                <a:gd name="connsiteX12" fmla="*/ 4245080 w 10613222"/>
                <a:gd name="connsiteY12" fmla="*/ 261684 h 267098"/>
                <a:gd name="connsiteX13" fmla="*/ 4598227 w 10613222"/>
                <a:gd name="connsiteY13" fmla="*/ 0 h 267098"/>
                <a:gd name="connsiteX14" fmla="*/ 4951375 w 10613222"/>
                <a:gd name="connsiteY14" fmla="*/ 261684 h 267098"/>
                <a:gd name="connsiteX15" fmla="*/ 5304524 w 10613222"/>
                <a:gd name="connsiteY15" fmla="*/ 0 h 267098"/>
                <a:gd name="connsiteX16" fmla="*/ 5657671 w 10613222"/>
                <a:gd name="connsiteY16" fmla="*/ 261684 h 267098"/>
                <a:gd name="connsiteX17" fmla="*/ 6010817 w 10613222"/>
                <a:gd name="connsiteY17" fmla="*/ 0 h 267098"/>
                <a:gd name="connsiteX18" fmla="*/ 6369707 w 10613222"/>
                <a:gd name="connsiteY18" fmla="*/ 265939 h 267098"/>
                <a:gd name="connsiteX19" fmla="*/ 6728597 w 10613222"/>
                <a:gd name="connsiteY19" fmla="*/ 0 h 267098"/>
                <a:gd name="connsiteX20" fmla="*/ 7081745 w 10613222"/>
                <a:gd name="connsiteY20" fmla="*/ 261684 h 267098"/>
                <a:gd name="connsiteX21" fmla="*/ 7434893 w 10613222"/>
                <a:gd name="connsiteY21" fmla="*/ 0 h 267098"/>
                <a:gd name="connsiteX22" fmla="*/ 7788039 w 10613222"/>
                <a:gd name="connsiteY22" fmla="*/ 261684 h 267098"/>
                <a:gd name="connsiteX23" fmla="*/ 8141187 w 10613222"/>
                <a:gd name="connsiteY23" fmla="*/ 0 h 267098"/>
                <a:gd name="connsiteX24" fmla="*/ 8494336 w 10613222"/>
                <a:gd name="connsiteY24" fmla="*/ 261684 h 267098"/>
                <a:gd name="connsiteX25" fmla="*/ 8847484 w 10613222"/>
                <a:gd name="connsiteY25" fmla="*/ 0 h 267098"/>
                <a:gd name="connsiteX26" fmla="*/ 9200631 w 10613222"/>
                <a:gd name="connsiteY26" fmla="*/ 261684 h 267098"/>
                <a:gd name="connsiteX27" fmla="*/ 9553779 w 10613222"/>
                <a:gd name="connsiteY27" fmla="*/ 0 h 267098"/>
                <a:gd name="connsiteX28" fmla="*/ 9906927 w 10613222"/>
                <a:gd name="connsiteY28" fmla="*/ 261684 h 267098"/>
                <a:gd name="connsiteX29" fmla="*/ 10260074 w 10613222"/>
                <a:gd name="connsiteY29" fmla="*/ 0 h 267098"/>
                <a:gd name="connsiteX30" fmla="*/ 10613222 w 10613222"/>
                <a:gd name="connsiteY30" fmla="*/ 261684 h 267098"/>
                <a:gd name="connsiteX0" fmla="*/ 0 w 10260074"/>
                <a:gd name="connsiteY0" fmla="*/ 267098 h 267098"/>
                <a:gd name="connsiteX1" fmla="*/ 360454 w 10260074"/>
                <a:gd name="connsiteY1" fmla="*/ 0 h 267098"/>
                <a:gd name="connsiteX2" fmla="*/ 713602 w 10260074"/>
                <a:gd name="connsiteY2" fmla="*/ 261684 h 267098"/>
                <a:gd name="connsiteX3" fmla="*/ 1066750 w 10260074"/>
                <a:gd name="connsiteY3" fmla="*/ 0 h 267098"/>
                <a:gd name="connsiteX4" fmla="*/ 1419897 w 10260074"/>
                <a:gd name="connsiteY4" fmla="*/ 261684 h 267098"/>
                <a:gd name="connsiteX5" fmla="*/ 1773044 w 10260074"/>
                <a:gd name="connsiteY5" fmla="*/ 0 h 267098"/>
                <a:gd name="connsiteX6" fmla="*/ 2126193 w 10260074"/>
                <a:gd name="connsiteY6" fmla="*/ 261684 h 267098"/>
                <a:gd name="connsiteX7" fmla="*/ 2479341 w 10260074"/>
                <a:gd name="connsiteY7" fmla="*/ 0 h 267098"/>
                <a:gd name="connsiteX8" fmla="*/ 2832489 w 10260074"/>
                <a:gd name="connsiteY8" fmla="*/ 261684 h 267098"/>
                <a:gd name="connsiteX9" fmla="*/ 3185636 w 10260074"/>
                <a:gd name="connsiteY9" fmla="*/ 0 h 267098"/>
                <a:gd name="connsiteX10" fmla="*/ 3538784 w 10260074"/>
                <a:gd name="connsiteY10" fmla="*/ 261684 h 267098"/>
                <a:gd name="connsiteX11" fmla="*/ 3891932 w 10260074"/>
                <a:gd name="connsiteY11" fmla="*/ 0 h 267098"/>
                <a:gd name="connsiteX12" fmla="*/ 4245080 w 10260074"/>
                <a:gd name="connsiteY12" fmla="*/ 261684 h 267098"/>
                <a:gd name="connsiteX13" fmla="*/ 4598227 w 10260074"/>
                <a:gd name="connsiteY13" fmla="*/ 0 h 267098"/>
                <a:gd name="connsiteX14" fmla="*/ 4951375 w 10260074"/>
                <a:gd name="connsiteY14" fmla="*/ 261684 h 267098"/>
                <a:gd name="connsiteX15" fmla="*/ 5304524 w 10260074"/>
                <a:gd name="connsiteY15" fmla="*/ 0 h 267098"/>
                <a:gd name="connsiteX16" fmla="*/ 5657671 w 10260074"/>
                <a:gd name="connsiteY16" fmla="*/ 261684 h 267098"/>
                <a:gd name="connsiteX17" fmla="*/ 6010817 w 10260074"/>
                <a:gd name="connsiteY17" fmla="*/ 0 h 267098"/>
                <a:gd name="connsiteX18" fmla="*/ 6369707 w 10260074"/>
                <a:gd name="connsiteY18" fmla="*/ 265939 h 267098"/>
                <a:gd name="connsiteX19" fmla="*/ 6728597 w 10260074"/>
                <a:gd name="connsiteY19" fmla="*/ 0 h 267098"/>
                <a:gd name="connsiteX20" fmla="*/ 7081745 w 10260074"/>
                <a:gd name="connsiteY20" fmla="*/ 261684 h 267098"/>
                <a:gd name="connsiteX21" fmla="*/ 7434893 w 10260074"/>
                <a:gd name="connsiteY21" fmla="*/ 0 h 267098"/>
                <a:gd name="connsiteX22" fmla="*/ 7788039 w 10260074"/>
                <a:gd name="connsiteY22" fmla="*/ 261684 h 267098"/>
                <a:gd name="connsiteX23" fmla="*/ 8141187 w 10260074"/>
                <a:gd name="connsiteY23" fmla="*/ 0 h 267098"/>
                <a:gd name="connsiteX24" fmla="*/ 8494336 w 10260074"/>
                <a:gd name="connsiteY24" fmla="*/ 261684 h 267098"/>
                <a:gd name="connsiteX25" fmla="*/ 8847484 w 10260074"/>
                <a:gd name="connsiteY25" fmla="*/ 0 h 267098"/>
                <a:gd name="connsiteX26" fmla="*/ 9200631 w 10260074"/>
                <a:gd name="connsiteY26" fmla="*/ 261684 h 267098"/>
                <a:gd name="connsiteX27" fmla="*/ 9553779 w 10260074"/>
                <a:gd name="connsiteY27" fmla="*/ 0 h 267098"/>
                <a:gd name="connsiteX28" fmla="*/ 9906927 w 10260074"/>
                <a:gd name="connsiteY28" fmla="*/ 261684 h 267098"/>
                <a:gd name="connsiteX29" fmla="*/ 10260074 w 10260074"/>
                <a:gd name="connsiteY29" fmla="*/ 0 h 267098"/>
                <a:gd name="connsiteX0" fmla="*/ 0 w 9906927"/>
                <a:gd name="connsiteY0" fmla="*/ 267098 h 267098"/>
                <a:gd name="connsiteX1" fmla="*/ 360454 w 9906927"/>
                <a:gd name="connsiteY1" fmla="*/ 0 h 267098"/>
                <a:gd name="connsiteX2" fmla="*/ 713602 w 9906927"/>
                <a:gd name="connsiteY2" fmla="*/ 261684 h 267098"/>
                <a:gd name="connsiteX3" fmla="*/ 1066750 w 9906927"/>
                <a:gd name="connsiteY3" fmla="*/ 0 h 267098"/>
                <a:gd name="connsiteX4" fmla="*/ 1419897 w 9906927"/>
                <a:gd name="connsiteY4" fmla="*/ 261684 h 267098"/>
                <a:gd name="connsiteX5" fmla="*/ 1773044 w 9906927"/>
                <a:gd name="connsiteY5" fmla="*/ 0 h 267098"/>
                <a:gd name="connsiteX6" fmla="*/ 2126193 w 9906927"/>
                <a:gd name="connsiteY6" fmla="*/ 261684 h 267098"/>
                <a:gd name="connsiteX7" fmla="*/ 2479341 w 9906927"/>
                <a:gd name="connsiteY7" fmla="*/ 0 h 267098"/>
                <a:gd name="connsiteX8" fmla="*/ 2832489 w 9906927"/>
                <a:gd name="connsiteY8" fmla="*/ 261684 h 267098"/>
                <a:gd name="connsiteX9" fmla="*/ 3185636 w 9906927"/>
                <a:gd name="connsiteY9" fmla="*/ 0 h 267098"/>
                <a:gd name="connsiteX10" fmla="*/ 3538784 w 9906927"/>
                <a:gd name="connsiteY10" fmla="*/ 261684 h 267098"/>
                <a:gd name="connsiteX11" fmla="*/ 3891932 w 9906927"/>
                <a:gd name="connsiteY11" fmla="*/ 0 h 267098"/>
                <a:gd name="connsiteX12" fmla="*/ 4245080 w 9906927"/>
                <a:gd name="connsiteY12" fmla="*/ 261684 h 267098"/>
                <a:gd name="connsiteX13" fmla="*/ 4598227 w 9906927"/>
                <a:gd name="connsiteY13" fmla="*/ 0 h 267098"/>
                <a:gd name="connsiteX14" fmla="*/ 4951375 w 9906927"/>
                <a:gd name="connsiteY14" fmla="*/ 261684 h 267098"/>
                <a:gd name="connsiteX15" fmla="*/ 5304524 w 9906927"/>
                <a:gd name="connsiteY15" fmla="*/ 0 h 267098"/>
                <a:gd name="connsiteX16" fmla="*/ 5657671 w 9906927"/>
                <a:gd name="connsiteY16" fmla="*/ 261684 h 267098"/>
                <a:gd name="connsiteX17" fmla="*/ 6010817 w 9906927"/>
                <a:gd name="connsiteY17" fmla="*/ 0 h 267098"/>
                <a:gd name="connsiteX18" fmla="*/ 6369707 w 9906927"/>
                <a:gd name="connsiteY18" fmla="*/ 265939 h 267098"/>
                <a:gd name="connsiteX19" fmla="*/ 6728597 w 9906927"/>
                <a:gd name="connsiteY19" fmla="*/ 0 h 267098"/>
                <a:gd name="connsiteX20" fmla="*/ 7081745 w 9906927"/>
                <a:gd name="connsiteY20" fmla="*/ 261684 h 267098"/>
                <a:gd name="connsiteX21" fmla="*/ 7434893 w 9906927"/>
                <a:gd name="connsiteY21" fmla="*/ 0 h 267098"/>
                <a:gd name="connsiteX22" fmla="*/ 7788039 w 9906927"/>
                <a:gd name="connsiteY22" fmla="*/ 261684 h 267098"/>
                <a:gd name="connsiteX23" fmla="*/ 8141187 w 9906927"/>
                <a:gd name="connsiteY23" fmla="*/ 0 h 267098"/>
                <a:gd name="connsiteX24" fmla="*/ 8494336 w 9906927"/>
                <a:gd name="connsiteY24" fmla="*/ 261684 h 267098"/>
                <a:gd name="connsiteX25" fmla="*/ 8847484 w 9906927"/>
                <a:gd name="connsiteY25" fmla="*/ 0 h 267098"/>
                <a:gd name="connsiteX26" fmla="*/ 9200631 w 9906927"/>
                <a:gd name="connsiteY26" fmla="*/ 261684 h 267098"/>
                <a:gd name="connsiteX27" fmla="*/ 9553779 w 9906927"/>
                <a:gd name="connsiteY27" fmla="*/ 0 h 267098"/>
                <a:gd name="connsiteX28" fmla="*/ 9906927 w 9906927"/>
                <a:gd name="connsiteY28" fmla="*/ 261684 h 267098"/>
                <a:gd name="connsiteX0" fmla="*/ 0 w 9553779"/>
                <a:gd name="connsiteY0" fmla="*/ 267098 h 267098"/>
                <a:gd name="connsiteX1" fmla="*/ 360454 w 9553779"/>
                <a:gd name="connsiteY1" fmla="*/ 0 h 267098"/>
                <a:gd name="connsiteX2" fmla="*/ 713602 w 9553779"/>
                <a:gd name="connsiteY2" fmla="*/ 261684 h 267098"/>
                <a:gd name="connsiteX3" fmla="*/ 1066750 w 9553779"/>
                <a:gd name="connsiteY3" fmla="*/ 0 h 267098"/>
                <a:gd name="connsiteX4" fmla="*/ 1419897 w 9553779"/>
                <a:gd name="connsiteY4" fmla="*/ 261684 h 267098"/>
                <a:gd name="connsiteX5" fmla="*/ 1773044 w 9553779"/>
                <a:gd name="connsiteY5" fmla="*/ 0 h 267098"/>
                <a:gd name="connsiteX6" fmla="*/ 2126193 w 9553779"/>
                <a:gd name="connsiteY6" fmla="*/ 261684 h 267098"/>
                <a:gd name="connsiteX7" fmla="*/ 2479341 w 9553779"/>
                <a:gd name="connsiteY7" fmla="*/ 0 h 267098"/>
                <a:gd name="connsiteX8" fmla="*/ 2832489 w 9553779"/>
                <a:gd name="connsiteY8" fmla="*/ 261684 h 267098"/>
                <a:gd name="connsiteX9" fmla="*/ 3185636 w 9553779"/>
                <a:gd name="connsiteY9" fmla="*/ 0 h 267098"/>
                <a:gd name="connsiteX10" fmla="*/ 3538784 w 9553779"/>
                <a:gd name="connsiteY10" fmla="*/ 261684 h 267098"/>
                <a:gd name="connsiteX11" fmla="*/ 3891932 w 9553779"/>
                <a:gd name="connsiteY11" fmla="*/ 0 h 267098"/>
                <a:gd name="connsiteX12" fmla="*/ 4245080 w 9553779"/>
                <a:gd name="connsiteY12" fmla="*/ 261684 h 267098"/>
                <a:gd name="connsiteX13" fmla="*/ 4598227 w 9553779"/>
                <a:gd name="connsiteY13" fmla="*/ 0 h 267098"/>
                <a:gd name="connsiteX14" fmla="*/ 4951375 w 9553779"/>
                <a:gd name="connsiteY14" fmla="*/ 261684 h 267098"/>
                <a:gd name="connsiteX15" fmla="*/ 5304524 w 9553779"/>
                <a:gd name="connsiteY15" fmla="*/ 0 h 267098"/>
                <a:gd name="connsiteX16" fmla="*/ 5657671 w 9553779"/>
                <a:gd name="connsiteY16" fmla="*/ 261684 h 267098"/>
                <a:gd name="connsiteX17" fmla="*/ 6010817 w 9553779"/>
                <a:gd name="connsiteY17" fmla="*/ 0 h 267098"/>
                <a:gd name="connsiteX18" fmla="*/ 6369707 w 9553779"/>
                <a:gd name="connsiteY18" fmla="*/ 265939 h 267098"/>
                <a:gd name="connsiteX19" fmla="*/ 6728597 w 9553779"/>
                <a:gd name="connsiteY19" fmla="*/ 0 h 267098"/>
                <a:gd name="connsiteX20" fmla="*/ 7081745 w 9553779"/>
                <a:gd name="connsiteY20" fmla="*/ 261684 h 267098"/>
                <a:gd name="connsiteX21" fmla="*/ 7434893 w 9553779"/>
                <a:gd name="connsiteY21" fmla="*/ 0 h 267098"/>
                <a:gd name="connsiteX22" fmla="*/ 7788039 w 9553779"/>
                <a:gd name="connsiteY22" fmla="*/ 261684 h 267098"/>
                <a:gd name="connsiteX23" fmla="*/ 8141187 w 9553779"/>
                <a:gd name="connsiteY23" fmla="*/ 0 h 267098"/>
                <a:gd name="connsiteX24" fmla="*/ 8494336 w 9553779"/>
                <a:gd name="connsiteY24" fmla="*/ 261684 h 267098"/>
                <a:gd name="connsiteX25" fmla="*/ 8847484 w 9553779"/>
                <a:gd name="connsiteY25" fmla="*/ 0 h 267098"/>
                <a:gd name="connsiteX26" fmla="*/ 9200631 w 9553779"/>
                <a:gd name="connsiteY26" fmla="*/ 261684 h 267098"/>
                <a:gd name="connsiteX27" fmla="*/ 9553779 w 9553779"/>
                <a:gd name="connsiteY27" fmla="*/ 0 h 267098"/>
                <a:gd name="connsiteX0" fmla="*/ 0 w 9200631"/>
                <a:gd name="connsiteY0" fmla="*/ 267098 h 267098"/>
                <a:gd name="connsiteX1" fmla="*/ 360454 w 9200631"/>
                <a:gd name="connsiteY1" fmla="*/ 0 h 267098"/>
                <a:gd name="connsiteX2" fmla="*/ 713602 w 9200631"/>
                <a:gd name="connsiteY2" fmla="*/ 261684 h 267098"/>
                <a:gd name="connsiteX3" fmla="*/ 1066750 w 9200631"/>
                <a:gd name="connsiteY3" fmla="*/ 0 h 267098"/>
                <a:gd name="connsiteX4" fmla="*/ 1419897 w 9200631"/>
                <a:gd name="connsiteY4" fmla="*/ 261684 h 267098"/>
                <a:gd name="connsiteX5" fmla="*/ 1773044 w 9200631"/>
                <a:gd name="connsiteY5" fmla="*/ 0 h 267098"/>
                <a:gd name="connsiteX6" fmla="*/ 2126193 w 9200631"/>
                <a:gd name="connsiteY6" fmla="*/ 261684 h 267098"/>
                <a:gd name="connsiteX7" fmla="*/ 2479341 w 9200631"/>
                <a:gd name="connsiteY7" fmla="*/ 0 h 267098"/>
                <a:gd name="connsiteX8" fmla="*/ 2832489 w 9200631"/>
                <a:gd name="connsiteY8" fmla="*/ 261684 h 267098"/>
                <a:gd name="connsiteX9" fmla="*/ 3185636 w 9200631"/>
                <a:gd name="connsiteY9" fmla="*/ 0 h 267098"/>
                <a:gd name="connsiteX10" fmla="*/ 3538784 w 9200631"/>
                <a:gd name="connsiteY10" fmla="*/ 261684 h 267098"/>
                <a:gd name="connsiteX11" fmla="*/ 3891932 w 9200631"/>
                <a:gd name="connsiteY11" fmla="*/ 0 h 267098"/>
                <a:gd name="connsiteX12" fmla="*/ 4245080 w 9200631"/>
                <a:gd name="connsiteY12" fmla="*/ 261684 h 267098"/>
                <a:gd name="connsiteX13" fmla="*/ 4598227 w 9200631"/>
                <a:gd name="connsiteY13" fmla="*/ 0 h 267098"/>
                <a:gd name="connsiteX14" fmla="*/ 4951375 w 9200631"/>
                <a:gd name="connsiteY14" fmla="*/ 261684 h 267098"/>
                <a:gd name="connsiteX15" fmla="*/ 5304524 w 9200631"/>
                <a:gd name="connsiteY15" fmla="*/ 0 h 267098"/>
                <a:gd name="connsiteX16" fmla="*/ 5657671 w 9200631"/>
                <a:gd name="connsiteY16" fmla="*/ 261684 h 267098"/>
                <a:gd name="connsiteX17" fmla="*/ 6010817 w 9200631"/>
                <a:gd name="connsiteY17" fmla="*/ 0 h 267098"/>
                <a:gd name="connsiteX18" fmla="*/ 6369707 w 9200631"/>
                <a:gd name="connsiteY18" fmla="*/ 265939 h 267098"/>
                <a:gd name="connsiteX19" fmla="*/ 6728597 w 9200631"/>
                <a:gd name="connsiteY19" fmla="*/ 0 h 267098"/>
                <a:gd name="connsiteX20" fmla="*/ 7081745 w 9200631"/>
                <a:gd name="connsiteY20" fmla="*/ 261684 h 267098"/>
                <a:gd name="connsiteX21" fmla="*/ 7434893 w 9200631"/>
                <a:gd name="connsiteY21" fmla="*/ 0 h 267098"/>
                <a:gd name="connsiteX22" fmla="*/ 7788039 w 9200631"/>
                <a:gd name="connsiteY22" fmla="*/ 261684 h 267098"/>
                <a:gd name="connsiteX23" fmla="*/ 8141187 w 9200631"/>
                <a:gd name="connsiteY23" fmla="*/ 0 h 267098"/>
                <a:gd name="connsiteX24" fmla="*/ 8494336 w 9200631"/>
                <a:gd name="connsiteY24" fmla="*/ 261684 h 267098"/>
                <a:gd name="connsiteX25" fmla="*/ 8847484 w 9200631"/>
                <a:gd name="connsiteY25" fmla="*/ 0 h 267098"/>
                <a:gd name="connsiteX26" fmla="*/ 9200631 w 9200631"/>
                <a:gd name="connsiteY26" fmla="*/ 261684 h 267098"/>
                <a:gd name="connsiteX0" fmla="*/ 0 w 8847484"/>
                <a:gd name="connsiteY0" fmla="*/ 267098 h 267098"/>
                <a:gd name="connsiteX1" fmla="*/ 360454 w 8847484"/>
                <a:gd name="connsiteY1" fmla="*/ 0 h 267098"/>
                <a:gd name="connsiteX2" fmla="*/ 713602 w 8847484"/>
                <a:gd name="connsiteY2" fmla="*/ 261684 h 267098"/>
                <a:gd name="connsiteX3" fmla="*/ 1066750 w 8847484"/>
                <a:gd name="connsiteY3" fmla="*/ 0 h 267098"/>
                <a:gd name="connsiteX4" fmla="*/ 1419897 w 8847484"/>
                <a:gd name="connsiteY4" fmla="*/ 261684 h 267098"/>
                <a:gd name="connsiteX5" fmla="*/ 1773044 w 8847484"/>
                <a:gd name="connsiteY5" fmla="*/ 0 h 267098"/>
                <a:gd name="connsiteX6" fmla="*/ 2126193 w 8847484"/>
                <a:gd name="connsiteY6" fmla="*/ 261684 h 267098"/>
                <a:gd name="connsiteX7" fmla="*/ 2479341 w 8847484"/>
                <a:gd name="connsiteY7" fmla="*/ 0 h 267098"/>
                <a:gd name="connsiteX8" fmla="*/ 2832489 w 8847484"/>
                <a:gd name="connsiteY8" fmla="*/ 261684 h 267098"/>
                <a:gd name="connsiteX9" fmla="*/ 3185636 w 8847484"/>
                <a:gd name="connsiteY9" fmla="*/ 0 h 267098"/>
                <a:gd name="connsiteX10" fmla="*/ 3538784 w 8847484"/>
                <a:gd name="connsiteY10" fmla="*/ 261684 h 267098"/>
                <a:gd name="connsiteX11" fmla="*/ 3891932 w 8847484"/>
                <a:gd name="connsiteY11" fmla="*/ 0 h 267098"/>
                <a:gd name="connsiteX12" fmla="*/ 4245080 w 8847484"/>
                <a:gd name="connsiteY12" fmla="*/ 261684 h 267098"/>
                <a:gd name="connsiteX13" fmla="*/ 4598227 w 8847484"/>
                <a:gd name="connsiteY13" fmla="*/ 0 h 267098"/>
                <a:gd name="connsiteX14" fmla="*/ 4951375 w 8847484"/>
                <a:gd name="connsiteY14" fmla="*/ 261684 h 267098"/>
                <a:gd name="connsiteX15" fmla="*/ 5304524 w 8847484"/>
                <a:gd name="connsiteY15" fmla="*/ 0 h 267098"/>
                <a:gd name="connsiteX16" fmla="*/ 5657671 w 8847484"/>
                <a:gd name="connsiteY16" fmla="*/ 261684 h 267098"/>
                <a:gd name="connsiteX17" fmla="*/ 6010817 w 8847484"/>
                <a:gd name="connsiteY17" fmla="*/ 0 h 267098"/>
                <a:gd name="connsiteX18" fmla="*/ 6369707 w 8847484"/>
                <a:gd name="connsiteY18" fmla="*/ 265939 h 267098"/>
                <a:gd name="connsiteX19" fmla="*/ 6728597 w 8847484"/>
                <a:gd name="connsiteY19" fmla="*/ 0 h 267098"/>
                <a:gd name="connsiteX20" fmla="*/ 7081745 w 8847484"/>
                <a:gd name="connsiteY20" fmla="*/ 261684 h 267098"/>
                <a:gd name="connsiteX21" fmla="*/ 7434893 w 8847484"/>
                <a:gd name="connsiteY21" fmla="*/ 0 h 267098"/>
                <a:gd name="connsiteX22" fmla="*/ 7788039 w 8847484"/>
                <a:gd name="connsiteY22" fmla="*/ 261684 h 267098"/>
                <a:gd name="connsiteX23" fmla="*/ 8141187 w 8847484"/>
                <a:gd name="connsiteY23" fmla="*/ 0 h 267098"/>
                <a:gd name="connsiteX24" fmla="*/ 8494336 w 8847484"/>
                <a:gd name="connsiteY24" fmla="*/ 261684 h 267098"/>
                <a:gd name="connsiteX25" fmla="*/ 8847484 w 8847484"/>
                <a:gd name="connsiteY25" fmla="*/ 0 h 267098"/>
                <a:gd name="connsiteX0" fmla="*/ 0 w 8494336"/>
                <a:gd name="connsiteY0" fmla="*/ 267098 h 267098"/>
                <a:gd name="connsiteX1" fmla="*/ 360454 w 8494336"/>
                <a:gd name="connsiteY1" fmla="*/ 0 h 267098"/>
                <a:gd name="connsiteX2" fmla="*/ 713602 w 8494336"/>
                <a:gd name="connsiteY2" fmla="*/ 261684 h 267098"/>
                <a:gd name="connsiteX3" fmla="*/ 1066750 w 8494336"/>
                <a:gd name="connsiteY3" fmla="*/ 0 h 267098"/>
                <a:gd name="connsiteX4" fmla="*/ 1419897 w 8494336"/>
                <a:gd name="connsiteY4" fmla="*/ 261684 h 267098"/>
                <a:gd name="connsiteX5" fmla="*/ 1773044 w 8494336"/>
                <a:gd name="connsiteY5" fmla="*/ 0 h 267098"/>
                <a:gd name="connsiteX6" fmla="*/ 2126193 w 8494336"/>
                <a:gd name="connsiteY6" fmla="*/ 261684 h 267098"/>
                <a:gd name="connsiteX7" fmla="*/ 2479341 w 8494336"/>
                <a:gd name="connsiteY7" fmla="*/ 0 h 267098"/>
                <a:gd name="connsiteX8" fmla="*/ 2832489 w 8494336"/>
                <a:gd name="connsiteY8" fmla="*/ 261684 h 267098"/>
                <a:gd name="connsiteX9" fmla="*/ 3185636 w 8494336"/>
                <a:gd name="connsiteY9" fmla="*/ 0 h 267098"/>
                <a:gd name="connsiteX10" fmla="*/ 3538784 w 8494336"/>
                <a:gd name="connsiteY10" fmla="*/ 261684 h 267098"/>
                <a:gd name="connsiteX11" fmla="*/ 3891932 w 8494336"/>
                <a:gd name="connsiteY11" fmla="*/ 0 h 267098"/>
                <a:gd name="connsiteX12" fmla="*/ 4245080 w 8494336"/>
                <a:gd name="connsiteY12" fmla="*/ 261684 h 267098"/>
                <a:gd name="connsiteX13" fmla="*/ 4598227 w 8494336"/>
                <a:gd name="connsiteY13" fmla="*/ 0 h 267098"/>
                <a:gd name="connsiteX14" fmla="*/ 4951375 w 8494336"/>
                <a:gd name="connsiteY14" fmla="*/ 261684 h 267098"/>
                <a:gd name="connsiteX15" fmla="*/ 5304524 w 8494336"/>
                <a:gd name="connsiteY15" fmla="*/ 0 h 267098"/>
                <a:gd name="connsiteX16" fmla="*/ 5657671 w 8494336"/>
                <a:gd name="connsiteY16" fmla="*/ 261684 h 267098"/>
                <a:gd name="connsiteX17" fmla="*/ 6010817 w 8494336"/>
                <a:gd name="connsiteY17" fmla="*/ 0 h 267098"/>
                <a:gd name="connsiteX18" fmla="*/ 6369707 w 8494336"/>
                <a:gd name="connsiteY18" fmla="*/ 265939 h 267098"/>
                <a:gd name="connsiteX19" fmla="*/ 6728597 w 8494336"/>
                <a:gd name="connsiteY19" fmla="*/ 0 h 267098"/>
                <a:gd name="connsiteX20" fmla="*/ 7081745 w 8494336"/>
                <a:gd name="connsiteY20" fmla="*/ 261684 h 267098"/>
                <a:gd name="connsiteX21" fmla="*/ 7434893 w 8494336"/>
                <a:gd name="connsiteY21" fmla="*/ 0 h 267098"/>
                <a:gd name="connsiteX22" fmla="*/ 7788039 w 8494336"/>
                <a:gd name="connsiteY22" fmla="*/ 261684 h 267098"/>
                <a:gd name="connsiteX23" fmla="*/ 8141187 w 8494336"/>
                <a:gd name="connsiteY23" fmla="*/ 0 h 267098"/>
                <a:gd name="connsiteX24" fmla="*/ 8494336 w 8494336"/>
                <a:gd name="connsiteY24" fmla="*/ 261684 h 267098"/>
                <a:gd name="connsiteX0" fmla="*/ 0 w 8507450"/>
                <a:gd name="connsiteY0" fmla="*/ 285791 h 285791"/>
                <a:gd name="connsiteX1" fmla="*/ 373568 w 8507450"/>
                <a:gd name="connsiteY1" fmla="*/ 0 h 285791"/>
                <a:gd name="connsiteX2" fmla="*/ 726716 w 8507450"/>
                <a:gd name="connsiteY2" fmla="*/ 261684 h 285791"/>
                <a:gd name="connsiteX3" fmla="*/ 1079864 w 8507450"/>
                <a:gd name="connsiteY3" fmla="*/ 0 h 285791"/>
                <a:gd name="connsiteX4" fmla="*/ 1433011 w 8507450"/>
                <a:gd name="connsiteY4" fmla="*/ 261684 h 285791"/>
                <a:gd name="connsiteX5" fmla="*/ 1786158 w 8507450"/>
                <a:gd name="connsiteY5" fmla="*/ 0 h 285791"/>
                <a:gd name="connsiteX6" fmla="*/ 2139307 w 8507450"/>
                <a:gd name="connsiteY6" fmla="*/ 261684 h 285791"/>
                <a:gd name="connsiteX7" fmla="*/ 2492455 w 8507450"/>
                <a:gd name="connsiteY7" fmla="*/ 0 h 285791"/>
                <a:gd name="connsiteX8" fmla="*/ 2845603 w 8507450"/>
                <a:gd name="connsiteY8" fmla="*/ 261684 h 285791"/>
                <a:gd name="connsiteX9" fmla="*/ 3198750 w 8507450"/>
                <a:gd name="connsiteY9" fmla="*/ 0 h 285791"/>
                <a:gd name="connsiteX10" fmla="*/ 3551898 w 8507450"/>
                <a:gd name="connsiteY10" fmla="*/ 261684 h 285791"/>
                <a:gd name="connsiteX11" fmla="*/ 3905046 w 8507450"/>
                <a:gd name="connsiteY11" fmla="*/ 0 h 285791"/>
                <a:gd name="connsiteX12" fmla="*/ 4258194 w 8507450"/>
                <a:gd name="connsiteY12" fmla="*/ 261684 h 285791"/>
                <a:gd name="connsiteX13" fmla="*/ 4611341 w 8507450"/>
                <a:gd name="connsiteY13" fmla="*/ 0 h 285791"/>
                <a:gd name="connsiteX14" fmla="*/ 4964489 w 8507450"/>
                <a:gd name="connsiteY14" fmla="*/ 261684 h 285791"/>
                <a:gd name="connsiteX15" fmla="*/ 5317638 w 8507450"/>
                <a:gd name="connsiteY15" fmla="*/ 0 h 285791"/>
                <a:gd name="connsiteX16" fmla="*/ 5670785 w 8507450"/>
                <a:gd name="connsiteY16" fmla="*/ 261684 h 285791"/>
                <a:gd name="connsiteX17" fmla="*/ 6023931 w 8507450"/>
                <a:gd name="connsiteY17" fmla="*/ 0 h 285791"/>
                <a:gd name="connsiteX18" fmla="*/ 6382821 w 8507450"/>
                <a:gd name="connsiteY18" fmla="*/ 265939 h 285791"/>
                <a:gd name="connsiteX19" fmla="*/ 6741711 w 8507450"/>
                <a:gd name="connsiteY19" fmla="*/ 0 h 285791"/>
                <a:gd name="connsiteX20" fmla="*/ 7094859 w 8507450"/>
                <a:gd name="connsiteY20" fmla="*/ 261684 h 285791"/>
                <a:gd name="connsiteX21" fmla="*/ 7448007 w 8507450"/>
                <a:gd name="connsiteY21" fmla="*/ 0 h 285791"/>
                <a:gd name="connsiteX22" fmla="*/ 7801153 w 8507450"/>
                <a:gd name="connsiteY22" fmla="*/ 261684 h 285791"/>
                <a:gd name="connsiteX23" fmla="*/ 8154301 w 8507450"/>
                <a:gd name="connsiteY23" fmla="*/ 0 h 285791"/>
                <a:gd name="connsiteX24" fmla="*/ 8507450 w 8507450"/>
                <a:gd name="connsiteY24" fmla="*/ 261684 h 285791"/>
                <a:gd name="connsiteX0" fmla="*/ 0 w 8494336"/>
                <a:gd name="connsiteY0" fmla="*/ 279560 h 279560"/>
                <a:gd name="connsiteX1" fmla="*/ 360454 w 8494336"/>
                <a:gd name="connsiteY1" fmla="*/ 0 h 279560"/>
                <a:gd name="connsiteX2" fmla="*/ 713602 w 8494336"/>
                <a:gd name="connsiteY2" fmla="*/ 261684 h 279560"/>
                <a:gd name="connsiteX3" fmla="*/ 1066750 w 8494336"/>
                <a:gd name="connsiteY3" fmla="*/ 0 h 279560"/>
                <a:gd name="connsiteX4" fmla="*/ 1419897 w 8494336"/>
                <a:gd name="connsiteY4" fmla="*/ 261684 h 279560"/>
                <a:gd name="connsiteX5" fmla="*/ 1773044 w 8494336"/>
                <a:gd name="connsiteY5" fmla="*/ 0 h 279560"/>
                <a:gd name="connsiteX6" fmla="*/ 2126193 w 8494336"/>
                <a:gd name="connsiteY6" fmla="*/ 261684 h 279560"/>
                <a:gd name="connsiteX7" fmla="*/ 2479341 w 8494336"/>
                <a:gd name="connsiteY7" fmla="*/ 0 h 279560"/>
                <a:gd name="connsiteX8" fmla="*/ 2832489 w 8494336"/>
                <a:gd name="connsiteY8" fmla="*/ 261684 h 279560"/>
                <a:gd name="connsiteX9" fmla="*/ 3185636 w 8494336"/>
                <a:gd name="connsiteY9" fmla="*/ 0 h 279560"/>
                <a:gd name="connsiteX10" fmla="*/ 3538784 w 8494336"/>
                <a:gd name="connsiteY10" fmla="*/ 261684 h 279560"/>
                <a:gd name="connsiteX11" fmla="*/ 3891932 w 8494336"/>
                <a:gd name="connsiteY11" fmla="*/ 0 h 279560"/>
                <a:gd name="connsiteX12" fmla="*/ 4245080 w 8494336"/>
                <a:gd name="connsiteY12" fmla="*/ 261684 h 279560"/>
                <a:gd name="connsiteX13" fmla="*/ 4598227 w 8494336"/>
                <a:gd name="connsiteY13" fmla="*/ 0 h 279560"/>
                <a:gd name="connsiteX14" fmla="*/ 4951375 w 8494336"/>
                <a:gd name="connsiteY14" fmla="*/ 261684 h 279560"/>
                <a:gd name="connsiteX15" fmla="*/ 5304524 w 8494336"/>
                <a:gd name="connsiteY15" fmla="*/ 0 h 279560"/>
                <a:gd name="connsiteX16" fmla="*/ 5657671 w 8494336"/>
                <a:gd name="connsiteY16" fmla="*/ 261684 h 279560"/>
                <a:gd name="connsiteX17" fmla="*/ 6010817 w 8494336"/>
                <a:gd name="connsiteY17" fmla="*/ 0 h 279560"/>
                <a:gd name="connsiteX18" fmla="*/ 6369707 w 8494336"/>
                <a:gd name="connsiteY18" fmla="*/ 265939 h 279560"/>
                <a:gd name="connsiteX19" fmla="*/ 6728597 w 8494336"/>
                <a:gd name="connsiteY19" fmla="*/ 0 h 279560"/>
                <a:gd name="connsiteX20" fmla="*/ 7081745 w 8494336"/>
                <a:gd name="connsiteY20" fmla="*/ 261684 h 279560"/>
                <a:gd name="connsiteX21" fmla="*/ 7434893 w 8494336"/>
                <a:gd name="connsiteY21" fmla="*/ 0 h 279560"/>
                <a:gd name="connsiteX22" fmla="*/ 7788039 w 8494336"/>
                <a:gd name="connsiteY22" fmla="*/ 261684 h 279560"/>
                <a:gd name="connsiteX23" fmla="*/ 8141187 w 8494336"/>
                <a:gd name="connsiteY23" fmla="*/ 0 h 279560"/>
                <a:gd name="connsiteX24" fmla="*/ 8494336 w 8494336"/>
                <a:gd name="connsiteY24" fmla="*/ 261684 h 279560"/>
                <a:gd name="connsiteX0" fmla="*/ 0 w 8533679"/>
                <a:gd name="connsiteY0" fmla="*/ 301369 h 301369"/>
                <a:gd name="connsiteX1" fmla="*/ 399797 w 8533679"/>
                <a:gd name="connsiteY1" fmla="*/ 0 h 301369"/>
                <a:gd name="connsiteX2" fmla="*/ 752945 w 8533679"/>
                <a:gd name="connsiteY2" fmla="*/ 261684 h 301369"/>
                <a:gd name="connsiteX3" fmla="*/ 1106093 w 8533679"/>
                <a:gd name="connsiteY3" fmla="*/ 0 h 301369"/>
                <a:gd name="connsiteX4" fmla="*/ 1459240 w 8533679"/>
                <a:gd name="connsiteY4" fmla="*/ 261684 h 301369"/>
                <a:gd name="connsiteX5" fmla="*/ 1812387 w 8533679"/>
                <a:gd name="connsiteY5" fmla="*/ 0 h 301369"/>
                <a:gd name="connsiteX6" fmla="*/ 2165536 w 8533679"/>
                <a:gd name="connsiteY6" fmla="*/ 261684 h 301369"/>
                <a:gd name="connsiteX7" fmla="*/ 2518684 w 8533679"/>
                <a:gd name="connsiteY7" fmla="*/ 0 h 301369"/>
                <a:gd name="connsiteX8" fmla="*/ 2871832 w 8533679"/>
                <a:gd name="connsiteY8" fmla="*/ 261684 h 301369"/>
                <a:gd name="connsiteX9" fmla="*/ 3224979 w 8533679"/>
                <a:gd name="connsiteY9" fmla="*/ 0 h 301369"/>
                <a:gd name="connsiteX10" fmla="*/ 3578127 w 8533679"/>
                <a:gd name="connsiteY10" fmla="*/ 261684 h 301369"/>
                <a:gd name="connsiteX11" fmla="*/ 3931275 w 8533679"/>
                <a:gd name="connsiteY11" fmla="*/ 0 h 301369"/>
                <a:gd name="connsiteX12" fmla="*/ 4284423 w 8533679"/>
                <a:gd name="connsiteY12" fmla="*/ 261684 h 301369"/>
                <a:gd name="connsiteX13" fmla="*/ 4637570 w 8533679"/>
                <a:gd name="connsiteY13" fmla="*/ 0 h 301369"/>
                <a:gd name="connsiteX14" fmla="*/ 4990718 w 8533679"/>
                <a:gd name="connsiteY14" fmla="*/ 261684 h 301369"/>
                <a:gd name="connsiteX15" fmla="*/ 5343867 w 8533679"/>
                <a:gd name="connsiteY15" fmla="*/ 0 h 301369"/>
                <a:gd name="connsiteX16" fmla="*/ 5697014 w 8533679"/>
                <a:gd name="connsiteY16" fmla="*/ 261684 h 301369"/>
                <a:gd name="connsiteX17" fmla="*/ 6050160 w 8533679"/>
                <a:gd name="connsiteY17" fmla="*/ 0 h 301369"/>
                <a:gd name="connsiteX18" fmla="*/ 6409050 w 8533679"/>
                <a:gd name="connsiteY18" fmla="*/ 265939 h 301369"/>
                <a:gd name="connsiteX19" fmla="*/ 6767940 w 8533679"/>
                <a:gd name="connsiteY19" fmla="*/ 0 h 301369"/>
                <a:gd name="connsiteX20" fmla="*/ 7121088 w 8533679"/>
                <a:gd name="connsiteY20" fmla="*/ 261684 h 301369"/>
                <a:gd name="connsiteX21" fmla="*/ 7474236 w 8533679"/>
                <a:gd name="connsiteY21" fmla="*/ 0 h 301369"/>
                <a:gd name="connsiteX22" fmla="*/ 7827382 w 8533679"/>
                <a:gd name="connsiteY22" fmla="*/ 261684 h 301369"/>
                <a:gd name="connsiteX23" fmla="*/ 8180530 w 8533679"/>
                <a:gd name="connsiteY23" fmla="*/ 0 h 301369"/>
                <a:gd name="connsiteX24" fmla="*/ 8533679 w 8533679"/>
                <a:gd name="connsiteY24" fmla="*/ 261684 h 301369"/>
                <a:gd name="connsiteX0" fmla="*/ 0 w 8500893"/>
                <a:gd name="connsiteY0" fmla="*/ 276444 h 276444"/>
                <a:gd name="connsiteX1" fmla="*/ 367011 w 8500893"/>
                <a:gd name="connsiteY1" fmla="*/ 0 h 276444"/>
                <a:gd name="connsiteX2" fmla="*/ 720159 w 8500893"/>
                <a:gd name="connsiteY2" fmla="*/ 261684 h 276444"/>
                <a:gd name="connsiteX3" fmla="*/ 1073307 w 8500893"/>
                <a:gd name="connsiteY3" fmla="*/ 0 h 276444"/>
                <a:gd name="connsiteX4" fmla="*/ 1426454 w 8500893"/>
                <a:gd name="connsiteY4" fmla="*/ 261684 h 276444"/>
                <a:gd name="connsiteX5" fmla="*/ 1779601 w 8500893"/>
                <a:gd name="connsiteY5" fmla="*/ 0 h 276444"/>
                <a:gd name="connsiteX6" fmla="*/ 2132750 w 8500893"/>
                <a:gd name="connsiteY6" fmla="*/ 261684 h 276444"/>
                <a:gd name="connsiteX7" fmla="*/ 2485898 w 8500893"/>
                <a:gd name="connsiteY7" fmla="*/ 0 h 276444"/>
                <a:gd name="connsiteX8" fmla="*/ 2839046 w 8500893"/>
                <a:gd name="connsiteY8" fmla="*/ 261684 h 276444"/>
                <a:gd name="connsiteX9" fmla="*/ 3192193 w 8500893"/>
                <a:gd name="connsiteY9" fmla="*/ 0 h 276444"/>
                <a:gd name="connsiteX10" fmla="*/ 3545341 w 8500893"/>
                <a:gd name="connsiteY10" fmla="*/ 261684 h 276444"/>
                <a:gd name="connsiteX11" fmla="*/ 3898489 w 8500893"/>
                <a:gd name="connsiteY11" fmla="*/ 0 h 276444"/>
                <a:gd name="connsiteX12" fmla="*/ 4251637 w 8500893"/>
                <a:gd name="connsiteY12" fmla="*/ 261684 h 276444"/>
                <a:gd name="connsiteX13" fmla="*/ 4604784 w 8500893"/>
                <a:gd name="connsiteY13" fmla="*/ 0 h 276444"/>
                <a:gd name="connsiteX14" fmla="*/ 4957932 w 8500893"/>
                <a:gd name="connsiteY14" fmla="*/ 261684 h 276444"/>
                <a:gd name="connsiteX15" fmla="*/ 5311081 w 8500893"/>
                <a:gd name="connsiteY15" fmla="*/ 0 h 276444"/>
                <a:gd name="connsiteX16" fmla="*/ 5664228 w 8500893"/>
                <a:gd name="connsiteY16" fmla="*/ 261684 h 276444"/>
                <a:gd name="connsiteX17" fmla="*/ 6017374 w 8500893"/>
                <a:gd name="connsiteY17" fmla="*/ 0 h 276444"/>
                <a:gd name="connsiteX18" fmla="*/ 6376264 w 8500893"/>
                <a:gd name="connsiteY18" fmla="*/ 265939 h 276444"/>
                <a:gd name="connsiteX19" fmla="*/ 6735154 w 8500893"/>
                <a:gd name="connsiteY19" fmla="*/ 0 h 276444"/>
                <a:gd name="connsiteX20" fmla="*/ 7088302 w 8500893"/>
                <a:gd name="connsiteY20" fmla="*/ 261684 h 276444"/>
                <a:gd name="connsiteX21" fmla="*/ 7441450 w 8500893"/>
                <a:gd name="connsiteY21" fmla="*/ 0 h 276444"/>
                <a:gd name="connsiteX22" fmla="*/ 7794596 w 8500893"/>
                <a:gd name="connsiteY22" fmla="*/ 261684 h 276444"/>
                <a:gd name="connsiteX23" fmla="*/ 8147744 w 8500893"/>
                <a:gd name="connsiteY23" fmla="*/ 0 h 276444"/>
                <a:gd name="connsiteX24" fmla="*/ 8500893 w 8500893"/>
                <a:gd name="connsiteY24"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4601505 w 8497614"/>
                <a:gd name="connsiteY13" fmla="*/ 0 h 276444"/>
                <a:gd name="connsiteX14" fmla="*/ 4954653 w 8497614"/>
                <a:gd name="connsiteY14" fmla="*/ 261684 h 276444"/>
                <a:gd name="connsiteX15" fmla="*/ 5307802 w 8497614"/>
                <a:gd name="connsiteY15" fmla="*/ 0 h 276444"/>
                <a:gd name="connsiteX16" fmla="*/ 5660949 w 8497614"/>
                <a:gd name="connsiteY16" fmla="*/ 261684 h 276444"/>
                <a:gd name="connsiteX17" fmla="*/ 6014095 w 8497614"/>
                <a:gd name="connsiteY17" fmla="*/ 0 h 276444"/>
                <a:gd name="connsiteX18" fmla="*/ 6372985 w 8497614"/>
                <a:gd name="connsiteY18" fmla="*/ 265939 h 276444"/>
                <a:gd name="connsiteX19" fmla="*/ 6731875 w 8497614"/>
                <a:gd name="connsiteY19" fmla="*/ 0 h 276444"/>
                <a:gd name="connsiteX20" fmla="*/ 7085023 w 8497614"/>
                <a:gd name="connsiteY20" fmla="*/ 261684 h 276444"/>
                <a:gd name="connsiteX21" fmla="*/ 7438171 w 8497614"/>
                <a:gd name="connsiteY21" fmla="*/ 0 h 276444"/>
                <a:gd name="connsiteX22" fmla="*/ 7791317 w 8497614"/>
                <a:gd name="connsiteY22" fmla="*/ 261684 h 276444"/>
                <a:gd name="connsiteX23" fmla="*/ 8144465 w 8497614"/>
                <a:gd name="connsiteY23" fmla="*/ 0 h 276444"/>
                <a:gd name="connsiteX24" fmla="*/ 8497614 w 8497614"/>
                <a:gd name="connsiteY24"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4954653 w 8497614"/>
                <a:gd name="connsiteY13" fmla="*/ 261684 h 276444"/>
                <a:gd name="connsiteX14" fmla="*/ 5307802 w 8497614"/>
                <a:gd name="connsiteY14" fmla="*/ 0 h 276444"/>
                <a:gd name="connsiteX15" fmla="*/ 5660949 w 8497614"/>
                <a:gd name="connsiteY15" fmla="*/ 261684 h 276444"/>
                <a:gd name="connsiteX16" fmla="*/ 6014095 w 8497614"/>
                <a:gd name="connsiteY16" fmla="*/ 0 h 276444"/>
                <a:gd name="connsiteX17" fmla="*/ 6372985 w 8497614"/>
                <a:gd name="connsiteY17" fmla="*/ 265939 h 276444"/>
                <a:gd name="connsiteX18" fmla="*/ 6731875 w 8497614"/>
                <a:gd name="connsiteY18" fmla="*/ 0 h 276444"/>
                <a:gd name="connsiteX19" fmla="*/ 7085023 w 8497614"/>
                <a:gd name="connsiteY19" fmla="*/ 261684 h 276444"/>
                <a:gd name="connsiteX20" fmla="*/ 7438171 w 8497614"/>
                <a:gd name="connsiteY20" fmla="*/ 0 h 276444"/>
                <a:gd name="connsiteX21" fmla="*/ 7791317 w 8497614"/>
                <a:gd name="connsiteY21" fmla="*/ 261684 h 276444"/>
                <a:gd name="connsiteX22" fmla="*/ 8144465 w 8497614"/>
                <a:gd name="connsiteY22" fmla="*/ 0 h 276444"/>
                <a:gd name="connsiteX23" fmla="*/ 8497614 w 8497614"/>
                <a:gd name="connsiteY23"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5307802 w 8497614"/>
                <a:gd name="connsiteY13" fmla="*/ 0 h 276444"/>
                <a:gd name="connsiteX14" fmla="*/ 5660949 w 8497614"/>
                <a:gd name="connsiteY14" fmla="*/ 261684 h 276444"/>
                <a:gd name="connsiteX15" fmla="*/ 6014095 w 8497614"/>
                <a:gd name="connsiteY15" fmla="*/ 0 h 276444"/>
                <a:gd name="connsiteX16" fmla="*/ 6372985 w 8497614"/>
                <a:gd name="connsiteY16" fmla="*/ 265939 h 276444"/>
                <a:gd name="connsiteX17" fmla="*/ 6731875 w 8497614"/>
                <a:gd name="connsiteY17" fmla="*/ 0 h 276444"/>
                <a:gd name="connsiteX18" fmla="*/ 7085023 w 8497614"/>
                <a:gd name="connsiteY18" fmla="*/ 261684 h 276444"/>
                <a:gd name="connsiteX19" fmla="*/ 7438171 w 8497614"/>
                <a:gd name="connsiteY19" fmla="*/ 0 h 276444"/>
                <a:gd name="connsiteX20" fmla="*/ 7791317 w 8497614"/>
                <a:gd name="connsiteY20" fmla="*/ 261684 h 276444"/>
                <a:gd name="connsiteX21" fmla="*/ 8144465 w 8497614"/>
                <a:gd name="connsiteY21" fmla="*/ 0 h 276444"/>
                <a:gd name="connsiteX22" fmla="*/ 8497614 w 8497614"/>
                <a:gd name="connsiteY22"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5660949 w 8497614"/>
                <a:gd name="connsiteY13" fmla="*/ 261684 h 276444"/>
                <a:gd name="connsiteX14" fmla="*/ 6014095 w 8497614"/>
                <a:gd name="connsiteY14" fmla="*/ 0 h 276444"/>
                <a:gd name="connsiteX15" fmla="*/ 6372985 w 8497614"/>
                <a:gd name="connsiteY15" fmla="*/ 265939 h 276444"/>
                <a:gd name="connsiteX16" fmla="*/ 6731875 w 8497614"/>
                <a:gd name="connsiteY16" fmla="*/ 0 h 276444"/>
                <a:gd name="connsiteX17" fmla="*/ 7085023 w 8497614"/>
                <a:gd name="connsiteY17" fmla="*/ 261684 h 276444"/>
                <a:gd name="connsiteX18" fmla="*/ 7438171 w 8497614"/>
                <a:gd name="connsiteY18" fmla="*/ 0 h 276444"/>
                <a:gd name="connsiteX19" fmla="*/ 7791317 w 8497614"/>
                <a:gd name="connsiteY19" fmla="*/ 261684 h 276444"/>
                <a:gd name="connsiteX20" fmla="*/ 8144465 w 8497614"/>
                <a:gd name="connsiteY20" fmla="*/ 0 h 276444"/>
                <a:gd name="connsiteX21" fmla="*/ 8497614 w 8497614"/>
                <a:gd name="connsiteY21"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6014095 w 8497614"/>
                <a:gd name="connsiteY13" fmla="*/ 0 h 276444"/>
                <a:gd name="connsiteX14" fmla="*/ 6372985 w 8497614"/>
                <a:gd name="connsiteY14" fmla="*/ 265939 h 276444"/>
                <a:gd name="connsiteX15" fmla="*/ 6731875 w 8497614"/>
                <a:gd name="connsiteY15" fmla="*/ 0 h 276444"/>
                <a:gd name="connsiteX16" fmla="*/ 7085023 w 8497614"/>
                <a:gd name="connsiteY16" fmla="*/ 261684 h 276444"/>
                <a:gd name="connsiteX17" fmla="*/ 7438171 w 8497614"/>
                <a:gd name="connsiteY17" fmla="*/ 0 h 276444"/>
                <a:gd name="connsiteX18" fmla="*/ 7791317 w 8497614"/>
                <a:gd name="connsiteY18" fmla="*/ 261684 h 276444"/>
                <a:gd name="connsiteX19" fmla="*/ 8144465 w 8497614"/>
                <a:gd name="connsiteY19" fmla="*/ 0 h 276444"/>
                <a:gd name="connsiteX20" fmla="*/ 8497614 w 8497614"/>
                <a:gd name="connsiteY20"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6372985 w 8497614"/>
                <a:gd name="connsiteY13" fmla="*/ 265939 h 276444"/>
                <a:gd name="connsiteX14" fmla="*/ 6731875 w 8497614"/>
                <a:gd name="connsiteY14" fmla="*/ 0 h 276444"/>
                <a:gd name="connsiteX15" fmla="*/ 7085023 w 8497614"/>
                <a:gd name="connsiteY15" fmla="*/ 261684 h 276444"/>
                <a:gd name="connsiteX16" fmla="*/ 7438171 w 8497614"/>
                <a:gd name="connsiteY16" fmla="*/ 0 h 276444"/>
                <a:gd name="connsiteX17" fmla="*/ 7791317 w 8497614"/>
                <a:gd name="connsiteY17" fmla="*/ 261684 h 276444"/>
                <a:gd name="connsiteX18" fmla="*/ 8144465 w 8497614"/>
                <a:gd name="connsiteY18" fmla="*/ 0 h 276444"/>
                <a:gd name="connsiteX19" fmla="*/ 8497614 w 8497614"/>
                <a:gd name="connsiteY19"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6731875 w 8497614"/>
                <a:gd name="connsiteY13" fmla="*/ 0 h 276444"/>
                <a:gd name="connsiteX14" fmla="*/ 7085023 w 8497614"/>
                <a:gd name="connsiteY14" fmla="*/ 261684 h 276444"/>
                <a:gd name="connsiteX15" fmla="*/ 7438171 w 8497614"/>
                <a:gd name="connsiteY15" fmla="*/ 0 h 276444"/>
                <a:gd name="connsiteX16" fmla="*/ 7791317 w 8497614"/>
                <a:gd name="connsiteY16" fmla="*/ 261684 h 276444"/>
                <a:gd name="connsiteX17" fmla="*/ 8144465 w 8497614"/>
                <a:gd name="connsiteY17" fmla="*/ 0 h 276444"/>
                <a:gd name="connsiteX18" fmla="*/ 8497614 w 8497614"/>
                <a:gd name="connsiteY18"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7085023 w 8497614"/>
                <a:gd name="connsiteY13" fmla="*/ 261684 h 276444"/>
                <a:gd name="connsiteX14" fmla="*/ 7438171 w 8497614"/>
                <a:gd name="connsiteY14" fmla="*/ 0 h 276444"/>
                <a:gd name="connsiteX15" fmla="*/ 7791317 w 8497614"/>
                <a:gd name="connsiteY15" fmla="*/ 261684 h 276444"/>
                <a:gd name="connsiteX16" fmla="*/ 8144465 w 8497614"/>
                <a:gd name="connsiteY16" fmla="*/ 0 h 276444"/>
                <a:gd name="connsiteX17" fmla="*/ 8497614 w 8497614"/>
                <a:gd name="connsiteY17"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7438171 w 8497614"/>
                <a:gd name="connsiteY13" fmla="*/ 0 h 276444"/>
                <a:gd name="connsiteX14" fmla="*/ 7791317 w 8497614"/>
                <a:gd name="connsiteY14" fmla="*/ 261684 h 276444"/>
                <a:gd name="connsiteX15" fmla="*/ 8144465 w 8497614"/>
                <a:gd name="connsiteY15" fmla="*/ 0 h 276444"/>
                <a:gd name="connsiteX16" fmla="*/ 8497614 w 8497614"/>
                <a:gd name="connsiteY16"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7791317 w 8497614"/>
                <a:gd name="connsiteY13" fmla="*/ 261684 h 276444"/>
                <a:gd name="connsiteX14" fmla="*/ 8144465 w 8497614"/>
                <a:gd name="connsiteY14" fmla="*/ 0 h 276444"/>
                <a:gd name="connsiteX15" fmla="*/ 8497614 w 8497614"/>
                <a:gd name="connsiteY15"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8144465 w 8497614"/>
                <a:gd name="connsiteY13" fmla="*/ 0 h 276444"/>
                <a:gd name="connsiteX14" fmla="*/ 8497614 w 8497614"/>
                <a:gd name="connsiteY14" fmla="*/ 261684 h 276444"/>
                <a:gd name="connsiteX0" fmla="*/ 0 w 8497614"/>
                <a:gd name="connsiteY0" fmla="*/ 276444 h 276444"/>
                <a:gd name="connsiteX1" fmla="*/ 363732 w 8497614"/>
                <a:gd name="connsiteY1" fmla="*/ 0 h 276444"/>
                <a:gd name="connsiteX2" fmla="*/ 716880 w 8497614"/>
                <a:gd name="connsiteY2" fmla="*/ 261684 h 276444"/>
                <a:gd name="connsiteX3" fmla="*/ 1070028 w 8497614"/>
                <a:gd name="connsiteY3" fmla="*/ 0 h 276444"/>
                <a:gd name="connsiteX4" fmla="*/ 1423175 w 8497614"/>
                <a:gd name="connsiteY4" fmla="*/ 261684 h 276444"/>
                <a:gd name="connsiteX5" fmla="*/ 1776322 w 8497614"/>
                <a:gd name="connsiteY5" fmla="*/ 0 h 276444"/>
                <a:gd name="connsiteX6" fmla="*/ 2129471 w 8497614"/>
                <a:gd name="connsiteY6" fmla="*/ 261684 h 276444"/>
                <a:gd name="connsiteX7" fmla="*/ 2482619 w 8497614"/>
                <a:gd name="connsiteY7" fmla="*/ 0 h 276444"/>
                <a:gd name="connsiteX8" fmla="*/ 2835767 w 8497614"/>
                <a:gd name="connsiteY8" fmla="*/ 261684 h 276444"/>
                <a:gd name="connsiteX9" fmla="*/ 3188914 w 8497614"/>
                <a:gd name="connsiteY9" fmla="*/ 0 h 276444"/>
                <a:gd name="connsiteX10" fmla="*/ 3542062 w 8497614"/>
                <a:gd name="connsiteY10" fmla="*/ 261684 h 276444"/>
                <a:gd name="connsiteX11" fmla="*/ 3895210 w 8497614"/>
                <a:gd name="connsiteY11" fmla="*/ 0 h 276444"/>
                <a:gd name="connsiteX12" fmla="*/ 4248358 w 8497614"/>
                <a:gd name="connsiteY12" fmla="*/ 261684 h 276444"/>
                <a:gd name="connsiteX13" fmla="*/ 8497614 w 8497614"/>
                <a:gd name="connsiteY13" fmla="*/ 261684 h 276444"/>
                <a:gd name="connsiteX0" fmla="*/ 0 w 4248358"/>
                <a:gd name="connsiteY0" fmla="*/ 276444 h 276444"/>
                <a:gd name="connsiteX1" fmla="*/ 363732 w 4248358"/>
                <a:gd name="connsiteY1" fmla="*/ 0 h 276444"/>
                <a:gd name="connsiteX2" fmla="*/ 716880 w 4248358"/>
                <a:gd name="connsiteY2" fmla="*/ 261684 h 276444"/>
                <a:gd name="connsiteX3" fmla="*/ 1070028 w 4248358"/>
                <a:gd name="connsiteY3" fmla="*/ 0 h 276444"/>
                <a:gd name="connsiteX4" fmla="*/ 1423175 w 4248358"/>
                <a:gd name="connsiteY4" fmla="*/ 261684 h 276444"/>
                <a:gd name="connsiteX5" fmla="*/ 1776322 w 4248358"/>
                <a:gd name="connsiteY5" fmla="*/ 0 h 276444"/>
                <a:gd name="connsiteX6" fmla="*/ 2129471 w 4248358"/>
                <a:gd name="connsiteY6" fmla="*/ 261684 h 276444"/>
                <a:gd name="connsiteX7" fmla="*/ 2482619 w 4248358"/>
                <a:gd name="connsiteY7" fmla="*/ 0 h 276444"/>
                <a:gd name="connsiteX8" fmla="*/ 2835767 w 4248358"/>
                <a:gd name="connsiteY8" fmla="*/ 261684 h 276444"/>
                <a:gd name="connsiteX9" fmla="*/ 3188914 w 4248358"/>
                <a:gd name="connsiteY9" fmla="*/ 0 h 276444"/>
                <a:gd name="connsiteX10" fmla="*/ 3542062 w 4248358"/>
                <a:gd name="connsiteY10" fmla="*/ 261684 h 276444"/>
                <a:gd name="connsiteX11" fmla="*/ 3895210 w 4248358"/>
                <a:gd name="connsiteY11" fmla="*/ 0 h 276444"/>
                <a:gd name="connsiteX12" fmla="*/ 4248358 w 4248358"/>
                <a:gd name="connsiteY12" fmla="*/ 261684 h 27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8358" h="276444">
                  <a:moveTo>
                    <a:pt x="0" y="276444"/>
                  </a:moveTo>
                  <a:lnTo>
                    <a:pt x="363732" y="0"/>
                  </a:lnTo>
                  <a:lnTo>
                    <a:pt x="716880" y="261684"/>
                  </a:lnTo>
                  <a:lnTo>
                    <a:pt x="1070028" y="0"/>
                  </a:lnTo>
                  <a:lnTo>
                    <a:pt x="1423175" y="261684"/>
                  </a:lnTo>
                  <a:lnTo>
                    <a:pt x="1776322" y="0"/>
                  </a:lnTo>
                  <a:lnTo>
                    <a:pt x="2129471" y="261684"/>
                  </a:lnTo>
                  <a:lnTo>
                    <a:pt x="2482619" y="0"/>
                  </a:lnTo>
                  <a:lnTo>
                    <a:pt x="2835767" y="261684"/>
                  </a:lnTo>
                  <a:lnTo>
                    <a:pt x="3188914" y="0"/>
                  </a:lnTo>
                  <a:lnTo>
                    <a:pt x="3542062" y="261684"/>
                  </a:lnTo>
                  <a:lnTo>
                    <a:pt x="3895210" y="0"/>
                  </a:lnTo>
                  <a:lnTo>
                    <a:pt x="4248358" y="261684"/>
                  </a:lnTo>
                </a:path>
              </a:pathLst>
            </a:custGeom>
            <a:noFill/>
            <a:ln w="254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13" name="TextBox 12">
            <a:extLst>
              <a:ext uri="{FF2B5EF4-FFF2-40B4-BE49-F238E27FC236}">
                <a16:creationId xmlns:a16="http://schemas.microsoft.com/office/drawing/2014/main" id="{B6C375E0-0209-9716-2D87-7519C6EA7B33}"/>
              </a:ext>
            </a:extLst>
          </p:cNvPr>
          <p:cNvSpPr txBox="1"/>
          <p:nvPr/>
        </p:nvSpPr>
        <p:spPr>
          <a:xfrm>
            <a:off x="2233436" y="1355866"/>
            <a:ext cx="3654613" cy="492412"/>
          </a:xfrm>
          <a:prstGeom prst="rect">
            <a:avLst/>
          </a:prstGeom>
          <a:noFill/>
          <a:ln w="25400" cap="flat" cmpd="sng">
            <a:noFill/>
            <a:prstDash val="solid"/>
            <a:round/>
            <a:headEnd type="none" w="sm" len="sm"/>
            <a:tailEnd type="none" w="sm" len="sm"/>
          </a:ln>
        </p:spPr>
        <p:txBody>
          <a:bodyPr spcFirstLastPara="1" wrap="square" lIns="91425" tIns="91425" rIns="91425" bIns="91425" anchor="t" anchorCtr="0">
            <a:spAutoFit/>
          </a:bodyPr>
          <a:lstStyle>
            <a:defPPr>
              <a:defRPr lang="en-US"/>
            </a:defPPr>
            <a:lvl1pPr marR="0" lvl="0" indent="0">
              <a:lnSpc>
                <a:spcPct val="100000"/>
              </a:lnSpc>
              <a:spcBef>
                <a:spcPts val="0"/>
              </a:spcBef>
              <a:spcAft>
                <a:spcPts val="0"/>
              </a:spcAft>
              <a:buClr>
                <a:srgbClr val="000000"/>
              </a:buClr>
              <a:buSzPts val="1200"/>
              <a:buFont typeface="Arial"/>
              <a:buNone/>
              <a:defRPr sz="1600" b="0" i="0" u="none" strike="noStrike" cap="none">
                <a:solidFill>
                  <a:srgbClr val="000000"/>
                </a:solidFill>
                <a:latin typeface="Arial"/>
                <a:ea typeface="Arial"/>
                <a:cs typeface="Arial"/>
              </a:defRPr>
            </a:lvl1pPr>
          </a:lstStyle>
          <a:p>
            <a:pPr algn="ctr"/>
            <a:r>
              <a:rPr lang="en-US" sz="2000" b="1" dirty="0"/>
              <a:t>Sell outcomes and value …</a:t>
            </a:r>
          </a:p>
        </p:txBody>
      </p:sp>
    </p:spTree>
    <p:extLst>
      <p:ext uri="{BB962C8B-B14F-4D97-AF65-F5344CB8AC3E}">
        <p14:creationId xmlns:p14="http://schemas.microsoft.com/office/powerpoint/2010/main" val="19263821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345FA-CA96-5C43-9DE4-E994524A30A4}"/>
              </a:ext>
            </a:extLst>
          </p:cNvPr>
          <p:cNvSpPr>
            <a:spLocks noGrp="1"/>
          </p:cNvSpPr>
          <p:nvPr>
            <p:ph type="title"/>
          </p:nvPr>
        </p:nvSpPr>
        <p:spPr/>
        <p:txBody>
          <a:bodyPr/>
          <a:lstStyle/>
          <a:p>
            <a:r>
              <a:rPr lang="en-US" dirty="0"/>
              <a:t>Understand the Dynamic Between Digital</a:t>
            </a:r>
            <a:br>
              <a:rPr lang="en-US" dirty="0"/>
            </a:br>
            <a:r>
              <a:rPr lang="en-US" dirty="0"/>
              <a:t>Initiatives and Cost Optimization</a:t>
            </a:r>
          </a:p>
        </p:txBody>
      </p:sp>
      <p:sp>
        <p:nvSpPr>
          <p:cNvPr id="12" name="Text Box 91">
            <a:extLst>
              <a:ext uri="{FF2B5EF4-FFF2-40B4-BE49-F238E27FC236}">
                <a16:creationId xmlns:a16="http://schemas.microsoft.com/office/drawing/2014/main" id="{D5DA5ACC-6CC8-5E77-9BA8-4DCA87927694}"/>
              </a:ext>
            </a:extLst>
          </p:cNvPr>
          <p:cNvSpPr txBox="1">
            <a:spLocks noChangeArrowheads="1"/>
          </p:cNvSpPr>
          <p:nvPr/>
        </p:nvSpPr>
        <p:spPr bwMode="gray">
          <a:xfrm>
            <a:off x="457200" y="5565178"/>
            <a:ext cx="8685444" cy="212366"/>
          </a:xfrm>
          <a:prstGeom prst="rect">
            <a:avLst/>
          </a:prstGeom>
          <a:noFill/>
        </p:spPr>
        <p:txBody>
          <a:bodyPr wrap="square" lIns="0" tIns="0" rIns="0" bIns="27432" rtlCol="0" anchor="b" anchorCtr="0">
            <a:spAutoFit/>
          </a:bodyPr>
          <a:lstStyle>
            <a:defPPr>
              <a:defRPr lang="en-US"/>
            </a:defPPr>
            <a:lvl1pPr>
              <a:defRPr sz="800">
                <a:solidFill>
                  <a:schemeClr val="accent2">
                    <a:lumMod val="75000"/>
                  </a:schemeClr>
                </a:solidFill>
              </a:defRPr>
            </a:lvl1pPr>
          </a:lstStyle>
          <a:p>
            <a:pPr lvl="0"/>
            <a:r>
              <a:rPr lang="en-US" sz="1200" dirty="0">
                <a:solidFill>
                  <a:srgbClr val="6F7878"/>
                </a:solidFill>
              </a:rPr>
              <a:t>Source: Gartner</a:t>
            </a:r>
          </a:p>
        </p:txBody>
      </p:sp>
      <p:grpSp>
        <p:nvGrpSpPr>
          <p:cNvPr id="9" name="Group 8">
            <a:extLst>
              <a:ext uri="{FF2B5EF4-FFF2-40B4-BE49-F238E27FC236}">
                <a16:creationId xmlns:a16="http://schemas.microsoft.com/office/drawing/2014/main" id="{C4262915-FEFD-3059-63E9-B08807047C48}"/>
              </a:ext>
            </a:extLst>
          </p:cNvPr>
          <p:cNvGrpSpPr/>
          <p:nvPr/>
        </p:nvGrpSpPr>
        <p:grpSpPr>
          <a:xfrm>
            <a:off x="457199" y="1657006"/>
            <a:ext cx="11274553" cy="3857879"/>
            <a:chOff x="1120282" y="1889378"/>
            <a:chExt cx="9970759" cy="3411752"/>
          </a:xfrm>
        </p:grpSpPr>
        <p:grpSp>
          <p:nvGrpSpPr>
            <p:cNvPr id="6" name="Group 5">
              <a:extLst>
                <a:ext uri="{FF2B5EF4-FFF2-40B4-BE49-F238E27FC236}">
                  <a16:creationId xmlns:a16="http://schemas.microsoft.com/office/drawing/2014/main" id="{79B2A1DC-1C95-4E3E-475D-126DC113EC79}"/>
                </a:ext>
              </a:extLst>
            </p:cNvPr>
            <p:cNvGrpSpPr/>
            <p:nvPr/>
          </p:nvGrpSpPr>
          <p:grpSpPr>
            <a:xfrm>
              <a:off x="1120282" y="1953906"/>
              <a:ext cx="9970759" cy="3282696"/>
              <a:chOff x="1513302" y="1953906"/>
              <a:chExt cx="9185151" cy="3282696"/>
            </a:xfrm>
          </p:grpSpPr>
          <p:sp>
            <p:nvSpPr>
              <p:cNvPr id="8" name="Rectangle 7">
                <a:extLst>
                  <a:ext uri="{FF2B5EF4-FFF2-40B4-BE49-F238E27FC236}">
                    <a16:creationId xmlns:a16="http://schemas.microsoft.com/office/drawing/2014/main" id="{327AA767-44F8-009E-E6F0-6D60784C6D2B}"/>
                  </a:ext>
                </a:extLst>
              </p:cNvPr>
              <p:cNvSpPr/>
              <p:nvPr/>
            </p:nvSpPr>
            <p:spPr>
              <a:xfrm>
                <a:off x="1513302" y="1953906"/>
                <a:ext cx="4477648" cy="3282696"/>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Rectangle 6">
                <a:extLst>
                  <a:ext uri="{FF2B5EF4-FFF2-40B4-BE49-F238E27FC236}">
                    <a16:creationId xmlns:a16="http://schemas.microsoft.com/office/drawing/2014/main" id="{E8F86FDD-70E5-B306-2B56-7DA2490C6FB8}"/>
                  </a:ext>
                </a:extLst>
              </p:cNvPr>
              <p:cNvSpPr/>
              <p:nvPr/>
            </p:nvSpPr>
            <p:spPr>
              <a:xfrm>
                <a:off x="6127214" y="1953906"/>
                <a:ext cx="4571239" cy="3282696"/>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53" name="Oval 52">
              <a:extLst>
                <a:ext uri="{FF2B5EF4-FFF2-40B4-BE49-F238E27FC236}">
                  <a16:creationId xmlns:a16="http://schemas.microsoft.com/office/drawing/2014/main" id="{01E276B4-8B26-AA40-A8E8-F148BB917066}"/>
                </a:ext>
              </a:extLst>
            </p:cNvPr>
            <p:cNvSpPr/>
            <p:nvPr/>
          </p:nvSpPr>
          <p:spPr>
            <a:xfrm>
              <a:off x="4323909" y="1889378"/>
              <a:ext cx="3544184" cy="341175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A2212BC1-D03D-45CA-94A0-E7BD51078BEB}"/>
                </a:ext>
              </a:extLst>
            </p:cNvPr>
            <p:cNvGrpSpPr/>
            <p:nvPr/>
          </p:nvGrpSpPr>
          <p:grpSpPr>
            <a:xfrm>
              <a:off x="4368801" y="1939570"/>
              <a:ext cx="3454398" cy="3311368"/>
              <a:chOff x="4063682" y="1745130"/>
              <a:chExt cx="4064639" cy="3896342"/>
            </a:xfrm>
          </p:grpSpPr>
          <p:sp>
            <p:nvSpPr>
              <p:cNvPr id="49" name="Freeform 48">
                <a:extLst>
                  <a:ext uri="{FF2B5EF4-FFF2-40B4-BE49-F238E27FC236}">
                    <a16:creationId xmlns:a16="http://schemas.microsoft.com/office/drawing/2014/main" id="{E338E422-E033-374F-A13F-5BF80E746DEE}"/>
                  </a:ext>
                </a:extLst>
              </p:cNvPr>
              <p:cNvSpPr/>
              <p:nvPr/>
            </p:nvSpPr>
            <p:spPr>
              <a:xfrm rot="5400000">
                <a:off x="3238270" y="2570543"/>
                <a:ext cx="3896341" cy="2245518"/>
              </a:xfrm>
              <a:custGeom>
                <a:avLst/>
                <a:gdLst>
                  <a:gd name="connsiteX0" fmla="*/ 2 w 3965827"/>
                  <a:gd name="connsiteY0" fmla="*/ 262605 h 2245518"/>
                  <a:gd name="connsiteX1" fmla="*/ 507720 w 3965827"/>
                  <a:gd name="connsiteY1" fmla="*/ 0 h 2245518"/>
                  <a:gd name="connsiteX2" fmla="*/ 994884 w 3965827"/>
                  <a:gd name="connsiteY2" fmla="*/ 262605 h 2245518"/>
                  <a:gd name="connsiteX3" fmla="*/ 991458 w 3965827"/>
                  <a:gd name="connsiteY3" fmla="*/ 262605 h 2245518"/>
                  <a:gd name="connsiteX4" fmla="*/ 991458 w 3965827"/>
                  <a:gd name="connsiteY4" fmla="*/ 262605 h 2245518"/>
                  <a:gd name="connsiteX5" fmla="*/ 0 w 3965827"/>
                  <a:gd name="connsiteY5" fmla="*/ 262605 h 2245518"/>
                  <a:gd name="connsiteX6" fmla="*/ 2 w 3965827"/>
                  <a:gd name="connsiteY6" fmla="*/ 262605 h 2245518"/>
                  <a:gd name="connsiteX7" fmla="*/ 1 w 3965827"/>
                  <a:gd name="connsiteY7" fmla="*/ 262605 h 2245518"/>
                  <a:gd name="connsiteX8" fmla="*/ 991458 w 3965827"/>
                  <a:gd name="connsiteY8" fmla="*/ 262605 h 2245518"/>
                  <a:gd name="connsiteX9" fmla="*/ 1011601 w 3965827"/>
                  <a:gd name="connsiteY9" fmla="*/ 462418 h 2245518"/>
                  <a:gd name="connsiteX10" fmla="*/ 1982913 w 3965827"/>
                  <a:gd name="connsiteY10" fmla="*/ 1254061 h 2245518"/>
                  <a:gd name="connsiteX11" fmla="*/ 2969251 w 3965827"/>
                  <a:gd name="connsiteY11" fmla="*/ 363976 h 2245518"/>
                  <a:gd name="connsiteX12" fmla="*/ 2974279 w 3965827"/>
                  <a:gd name="connsiteY12" fmla="*/ 264404 h 2245518"/>
                  <a:gd name="connsiteX13" fmla="*/ 3458108 w 3965827"/>
                  <a:gd name="connsiteY13" fmla="*/ 525211 h 2245518"/>
                  <a:gd name="connsiteX14" fmla="*/ 3965827 w 3965827"/>
                  <a:gd name="connsiteY14" fmla="*/ 262606 h 2245518"/>
                  <a:gd name="connsiteX15" fmla="*/ 3955589 w 3965827"/>
                  <a:gd name="connsiteY15" fmla="*/ 465346 h 2245518"/>
                  <a:gd name="connsiteX16" fmla="*/ 1982913 w 3965827"/>
                  <a:gd name="connsiteY16" fmla="*/ 2245518 h 2245518"/>
                  <a:gd name="connsiteX17" fmla="*/ 0 w 3965827"/>
                  <a:gd name="connsiteY17" fmla="*/ 262605 h 224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65827" h="2245518">
                    <a:moveTo>
                      <a:pt x="2" y="262605"/>
                    </a:moveTo>
                    <a:lnTo>
                      <a:pt x="507720" y="0"/>
                    </a:lnTo>
                    <a:lnTo>
                      <a:pt x="994884" y="262605"/>
                    </a:lnTo>
                    <a:lnTo>
                      <a:pt x="991458" y="262605"/>
                    </a:lnTo>
                    <a:lnTo>
                      <a:pt x="991458" y="262605"/>
                    </a:lnTo>
                    <a:close/>
                    <a:moveTo>
                      <a:pt x="0" y="262605"/>
                    </a:moveTo>
                    <a:lnTo>
                      <a:pt x="2" y="262605"/>
                    </a:lnTo>
                    <a:lnTo>
                      <a:pt x="1" y="262605"/>
                    </a:lnTo>
                    <a:lnTo>
                      <a:pt x="991458" y="262605"/>
                    </a:lnTo>
                    <a:lnTo>
                      <a:pt x="1011601" y="462418"/>
                    </a:lnTo>
                    <a:cubicBezTo>
                      <a:pt x="1104050" y="914207"/>
                      <a:pt x="1503793" y="1254061"/>
                      <a:pt x="1982913" y="1254061"/>
                    </a:cubicBezTo>
                    <a:cubicBezTo>
                      <a:pt x="2496257" y="1254061"/>
                      <a:pt x="2918479" y="863923"/>
                      <a:pt x="2969251" y="363976"/>
                    </a:cubicBezTo>
                    <a:lnTo>
                      <a:pt x="2974279" y="264404"/>
                    </a:lnTo>
                    <a:lnTo>
                      <a:pt x="3458108" y="525211"/>
                    </a:lnTo>
                    <a:lnTo>
                      <a:pt x="3965827" y="262606"/>
                    </a:lnTo>
                    <a:lnTo>
                      <a:pt x="3955589" y="465346"/>
                    </a:lnTo>
                    <a:cubicBezTo>
                      <a:pt x="3854044" y="1465243"/>
                      <a:pt x="3009601" y="2245518"/>
                      <a:pt x="1982913" y="2245518"/>
                    </a:cubicBezTo>
                    <a:cubicBezTo>
                      <a:pt x="887780" y="2245518"/>
                      <a:pt x="0" y="1357738"/>
                      <a:pt x="0" y="262605"/>
                    </a:cubicBezTo>
                    <a:close/>
                  </a:path>
                </a:pathLst>
              </a:custGeom>
              <a:solidFill>
                <a:srgbClr val="002856"/>
              </a:solidFill>
              <a:ln w="25400">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0" name="Freeform 49">
                <a:extLst>
                  <a:ext uri="{FF2B5EF4-FFF2-40B4-BE49-F238E27FC236}">
                    <a16:creationId xmlns:a16="http://schemas.microsoft.com/office/drawing/2014/main" id="{3526D5F9-9494-D048-AC4F-E68629B9EB42}"/>
                  </a:ext>
                </a:extLst>
              </p:cNvPr>
              <p:cNvSpPr/>
              <p:nvPr/>
            </p:nvSpPr>
            <p:spPr>
              <a:xfrm rot="16200000">
                <a:off x="5057390" y="2570541"/>
                <a:ext cx="3896341" cy="2245520"/>
              </a:xfrm>
              <a:custGeom>
                <a:avLst/>
                <a:gdLst>
                  <a:gd name="connsiteX0" fmla="*/ 2 w 3965827"/>
                  <a:gd name="connsiteY0" fmla="*/ 262605 h 2245518"/>
                  <a:gd name="connsiteX1" fmla="*/ 507720 w 3965827"/>
                  <a:gd name="connsiteY1" fmla="*/ 0 h 2245518"/>
                  <a:gd name="connsiteX2" fmla="*/ 994884 w 3965827"/>
                  <a:gd name="connsiteY2" fmla="*/ 262605 h 2245518"/>
                  <a:gd name="connsiteX3" fmla="*/ 991458 w 3965827"/>
                  <a:gd name="connsiteY3" fmla="*/ 262605 h 2245518"/>
                  <a:gd name="connsiteX4" fmla="*/ 991458 w 3965827"/>
                  <a:gd name="connsiteY4" fmla="*/ 262605 h 2245518"/>
                  <a:gd name="connsiteX5" fmla="*/ 0 w 3965827"/>
                  <a:gd name="connsiteY5" fmla="*/ 262605 h 2245518"/>
                  <a:gd name="connsiteX6" fmla="*/ 2 w 3965827"/>
                  <a:gd name="connsiteY6" fmla="*/ 262605 h 2245518"/>
                  <a:gd name="connsiteX7" fmla="*/ 1 w 3965827"/>
                  <a:gd name="connsiteY7" fmla="*/ 262605 h 2245518"/>
                  <a:gd name="connsiteX8" fmla="*/ 991458 w 3965827"/>
                  <a:gd name="connsiteY8" fmla="*/ 262605 h 2245518"/>
                  <a:gd name="connsiteX9" fmla="*/ 1011601 w 3965827"/>
                  <a:gd name="connsiteY9" fmla="*/ 462418 h 2245518"/>
                  <a:gd name="connsiteX10" fmla="*/ 1982913 w 3965827"/>
                  <a:gd name="connsiteY10" fmla="*/ 1254061 h 2245518"/>
                  <a:gd name="connsiteX11" fmla="*/ 2969251 w 3965827"/>
                  <a:gd name="connsiteY11" fmla="*/ 363976 h 2245518"/>
                  <a:gd name="connsiteX12" fmla="*/ 2974279 w 3965827"/>
                  <a:gd name="connsiteY12" fmla="*/ 264404 h 2245518"/>
                  <a:gd name="connsiteX13" fmla="*/ 3458108 w 3965827"/>
                  <a:gd name="connsiteY13" fmla="*/ 525211 h 2245518"/>
                  <a:gd name="connsiteX14" fmla="*/ 3965827 w 3965827"/>
                  <a:gd name="connsiteY14" fmla="*/ 262606 h 2245518"/>
                  <a:gd name="connsiteX15" fmla="*/ 3955589 w 3965827"/>
                  <a:gd name="connsiteY15" fmla="*/ 465346 h 2245518"/>
                  <a:gd name="connsiteX16" fmla="*/ 1982913 w 3965827"/>
                  <a:gd name="connsiteY16" fmla="*/ 2245518 h 2245518"/>
                  <a:gd name="connsiteX17" fmla="*/ 0 w 3965827"/>
                  <a:gd name="connsiteY17" fmla="*/ 262605 h 224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65827" h="2245518">
                    <a:moveTo>
                      <a:pt x="2" y="262605"/>
                    </a:moveTo>
                    <a:lnTo>
                      <a:pt x="507720" y="0"/>
                    </a:lnTo>
                    <a:lnTo>
                      <a:pt x="994884" y="262605"/>
                    </a:lnTo>
                    <a:lnTo>
                      <a:pt x="991458" y="262605"/>
                    </a:lnTo>
                    <a:lnTo>
                      <a:pt x="991458" y="262605"/>
                    </a:lnTo>
                    <a:close/>
                    <a:moveTo>
                      <a:pt x="0" y="262605"/>
                    </a:moveTo>
                    <a:lnTo>
                      <a:pt x="2" y="262605"/>
                    </a:lnTo>
                    <a:lnTo>
                      <a:pt x="1" y="262605"/>
                    </a:lnTo>
                    <a:lnTo>
                      <a:pt x="991458" y="262605"/>
                    </a:lnTo>
                    <a:lnTo>
                      <a:pt x="1011601" y="462418"/>
                    </a:lnTo>
                    <a:cubicBezTo>
                      <a:pt x="1104050" y="914207"/>
                      <a:pt x="1503793" y="1254061"/>
                      <a:pt x="1982913" y="1254061"/>
                    </a:cubicBezTo>
                    <a:cubicBezTo>
                      <a:pt x="2496257" y="1254061"/>
                      <a:pt x="2918479" y="863923"/>
                      <a:pt x="2969251" y="363976"/>
                    </a:cubicBezTo>
                    <a:lnTo>
                      <a:pt x="2974279" y="264404"/>
                    </a:lnTo>
                    <a:lnTo>
                      <a:pt x="3458108" y="525211"/>
                    </a:lnTo>
                    <a:lnTo>
                      <a:pt x="3965827" y="262606"/>
                    </a:lnTo>
                    <a:lnTo>
                      <a:pt x="3955589" y="465346"/>
                    </a:lnTo>
                    <a:cubicBezTo>
                      <a:pt x="3854044" y="1465243"/>
                      <a:pt x="3009601" y="2245518"/>
                      <a:pt x="1982913" y="2245518"/>
                    </a:cubicBezTo>
                    <a:cubicBezTo>
                      <a:pt x="887780" y="2245518"/>
                      <a:pt x="0" y="1357738"/>
                      <a:pt x="0" y="262605"/>
                    </a:cubicBezTo>
                    <a:close/>
                  </a:path>
                </a:pathLst>
              </a:custGeom>
              <a:solidFill>
                <a:srgbClr val="009AD7"/>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55" name="TextBox 54">
              <a:extLst>
                <a:ext uri="{FF2B5EF4-FFF2-40B4-BE49-F238E27FC236}">
                  <a16:creationId xmlns:a16="http://schemas.microsoft.com/office/drawing/2014/main" id="{288059B3-36FD-FB4F-8503-78D3A7AAAFFD}"/>
                </a:ext>
              </a:extLst>
            </p:cNvPr>
            <p:cNvSpPr txBox="1"/>
            <p:nvPr/>
          </p:nvSpPr>
          <p:spPr>
            <a:xfrm>
              <a:off x="1304070" y="3064493"/>
              <a:ext cx="2926056" cy="1061522"/>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FFFFFF"/>
                  </a:solidFill>
                  <a:effectLst/>
                  <a:uLnTx/>
                  <a:uFillTx/>
                  <a:latin typeface="Arial"/>
                  <a:ea typeface="+mn-ea"/>
                  <a:cs typeface="+mn-cs"/>
                </a:rPr>
                <a:t>Use strategic cost optimization to </a:t>
              </a:r>
              <a:r>
                <a:rPr kumimoji="0" lang="en-US" b="1" i="0" u="none" strike="noStrike" kern="1200" cap="none" spc="0" normalizeH="0" baseline="0" noProof="0" dirty="0">
                  <a:ln>
                    <a:noFill/>
                  </a:ln>
                  <a:solidFill>
                    <a:srgbClr val="FFFFFF"/>
                  </a:solidFill>
                  <a:effectLst/>
                  <a:uLnTx/>
                  <a:uFillTx/>
                  <a:latin typeface="Arial"/>
                  <a:ea typeface="+mn-ea"/>
                  <a:cs typeface="+mn-cs"/>
                </a:rPr>
                <a:t>improve near-term margins </a:t>
              </a:r>
              <a:r>
                <a:rPr kumimoji="0" lang="en-US" i="0" u="none" strike="noStrike" kern="1200" cap="none" spc="0" normalizeH="0" baseline="0" noProof="0" dirty="0">
                  <a:ln>
                    <a:noFill/>
                  </a:ln>
                  <a:solidFill>
                    <a:srgbClr val="FFFFFF"/>
                  </a:solidFill>
                  <a:effectLst/>
                  <a:uLnTx/>
                  <a:uFillTx/>
                  <a:latin typeface="Arial"/>
                  <a:ea typeface="+mn-ea"/>
                  <a:cs typeface="+mn-cs"/>
                </a:rPr>
                <a:t>and </a:t>
              </a:r>
              <a:r>
                <a:rPr kumimoji="0" lang="en-US" b="1" i="0" u="none" strike="noStrike" kern="1200" cap="none" spc="0" normalizeH="0" baseline="0" noProof="0" dirty="0">
                  <a:ln>
                    <a:noFill/>
                  </a:ln>
                  <a:solidFill>
                    <a:srgbClr val="FFFFFF"/>
                  </a:solidFill>
                  <a:effectLst/>
                  <a:uLnTx/>
                  <a:uFillTx/>
                  <a:latin typeface="Arial"/>
                  <a:ea typeface="+mn-ea"/>
                  <a:cs typeface="+mn-cs"/>
                </a:rPr>
                <a:t>reallocate resources </a:t>
              </a:r>
              <a:r>
                <a:rPr kumimoji="0" lang="en-US" i="0" u="none" strike="noStrike" kern="1200" cap="none" spc="0" normalizeH="0" baseline="0" noProof="0" dirty="0">
                  <a:ln>
                    <a:noFill/>
                  </a:ln>
                  <a:solidFill>
                    <a:srgbClr val="FFFFFF"/>
                  </a:solidFill>
                  <a:effectLst/>
                  <a:uLnTx/>
                  <a:uFillTx/>
                  <a:latin typeface="Arial"/>
                  <a:ea typeface="+mn-ea"/>
                  <a:cs typeface="+mn-cs"/>
                </a:rPr>
                <a:t>to drive profitable growth.</a:t>
              </a:r>
            </a:p>
          </p:txBody>
        </p:sp>
        <p:sp>
          <p:nvSpPr>
            <p:cNvPr id="58" name="TextBox 57">
              <a:extLst>
                <a:ext uri="{FF2B5EF4-FFF2-40B4-BE49-F238E27FC236}">
                  <a16:creationId xmlns:a16="http://schemas.microsoft.com/office/drawing/2014/main" id="{03B661BA-0C32-FC43-8DC1-D6A7341AECE3}"/>
                </a:ext>
              </a:extLst>
            </p:cNvPr>
            <p:cNvSpPr txBox="1"/>
            <p:nvPr/>
          </p:nvSpPr>
          <p:spPr>
            <a:xfrm>
              <a:off x="8016011" y="3064493"/>
              <a:ext cx="2989441" cy="1061522"/>
            </a:xfrm>
            <a:prstGeom prst="rect">
              <a:avLst/>
            </a:prstGeom>
            <a:noFill/>
          </p:spPr>
          <p:txBody>
            <a:bodyPr wrap="square" lIns="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effectLst/>
                  <a:uLnTx/>
                  <a:uFillTx/>
                  <a:latin typeface="Arial"/>
                  <a:ea typeface="+mn-ea"/>
                  <a:cs typeface="+mn-cs"/>
                </a:rPr>
                <a:t>Fund the right digital investments </a:t>
              </a:r>
              <a:r>
                <a:rPr kumimoji="0" lang="en-US" b="1" i="0" u="none" strike="noStrike" kern="1200" cap="none" spc="0" normalizeH="0" baseline="0" noProof="0" dirty="0">
                  <a:ln>
                    <a:noFill/>
                  </a:ln>
                  <a:effectLst/>
                  <a:uLnTx/>
                  <a:uFillTx/>
                  <a:latin typeface="Arial"/>
                  <a:ea typeface="+mn-ea"/>
                  <a:cs typeface="+mn-cs"/>
                </a:rPr>
                <a:t>to lower the cost of doing business </a:t>
              </a:r>
              <a:r>
                <a:rPr kumimoji="0" lang="en-US" i="0" u="none" strike="noStrike" kern="1200" cap="none" spc="0" normalizeH="0" baseline="0" noProof="0" dirty="0">
                  <a:ln>
                    <a:noFill/>
                  </a:ln>
                  <a:effectLst/>
                  <a:uLnTx/>
                  <a:uFillTx/>
                  <a:latin typeface="Arial"/>
                  <a:ea typeface="+mn-ea"/>
                  <a:cs typeface="+mn-cs"/>
                </a:rPr>
                <a:t>and </a:t>
              </a:r>
              <a:r>
                <a:rPr kumimoji="0" lang="en-US" b="1" i="0" u="none" strike="noStrike" kern="1200" cap="none" spc="0" normalizeH="0" baseline="0" noProof="0" dirty="0">
                  <a:ln>
                    <a:noFill/>
                  </a:ln>
                  <a:effectLst/>
                  <a:uLnTx/>
                  <a:uFillTx/>
                  <a:latin typeface="Arial"/>
                  <a:ea typeface="+mn-ea"/>
                  <a:cs typeface="+mn-cs"/>
                </a:rPr>
                <a:t>take advantage of new opportunities.</a:t>
              </a:r>
            </a:p>
          </p:txBody>
        </p:sp>
        <p:sp>
          <p:nvSpPr>
            <p:cNvPr id="3" name="TextBox 2">
              <a:extLst>
                <a:ext uri="{FF2B5EF4-FFF2-40B4-BE49-F238E27FC236}">
                  <a16:creationId xmlns:a16="http://schemas.microsoft.com/office/drawing/2014/main" id="{4B1ECA07-CAF8-150F-EF84-E04C909D8CF7}"/>
                </a:ext>
              </a:extLst>
            </p:cNvPr>
            <p:cNvSpPr txBox="1"/>
            <p:nvPr/>
          </p:nvSpPr>
          <p:spPr>
            <a:xfrm rot="16200000">
              <a:off x="4609602" y="2555798"/>
              <a:ext cx="2474326" cy="2078914"/>
            </a:xfrm>
            <a:prstGeom prst="rect">
              <a:avLst/>
            </a:prstGeom>
            <a:noFill/>
            <a:ln w="12700">
              <a:noFill/>
            </a:ln>
          </p:spPr>
          <p:txBody>
            <a:bodyPr wrap="square" lIns="0" tIns="0" rIns="0" bIns="0" rtlCol="0" anchor="t" anchorCtr="0">
              <a:prstTxWarp prst="textArchUp">
                <a:avLst>
                  <a:gd name="adj" fmla="val 10729205"/>
                </a:avLst>
              </a:prstTxWarp>
              <a:noAutofit/>
            </a:bodyPr>
            <a:lstStyle/>
            <a:p>
              <a:pPr algn="ctr"/>
              <a:r>
                <a:rPr lang="en-US" b="1" dirty="0">
                  <a:solidFill>
                    <a:srgbClr val="FFFFFF"/>
                  </a:solidFill>
                </a:rPr>
                <a:t>Strategic Cost Optimization</a:t>
              </a:r>
            </a:p>
          </p:txBody>
        </p:sp>
        <p:sp>
          <p:nvSpPr>
            <p:cNvPr id="5" name="TextBox 4">
              <a:extLst>
                <a:ext uri="{FF2B5EF4-FFF2-40B4-BE49-F238E27FC236}">
                  <a16:creationId xmlns:a16="http://schemas.microsoft.com/office/drawing/2014/main" id="{2C1C1930-03B2-2029-3055-6176BB42BAD4}"/>
                </a:ext>
              </a:extLst>
            </p:cNvPr>
            <p:cNvSpPr txBox="1"/>
            <p:nvPr/>
          </p:nvSpPr>
          <p:spPr>
            <a:xfrm rot="5400000">
              <a:off x="5132030" y="2555797"/>
              <a:ext cx="2474326" cy="2078914"/>
            </a:xfrm>
            <a:prstGeom prst="rect">
              <a:avLst/>
            </a:prstGeom>
            <a:noFill/>
            <a:ln w="12700">
              <a:noFill/>
            </a:ln>
          </p:spPr>
          <p:txBody>
            <a:bodyPr wrap="square" lIns="0" tIns="0" rIns="0" bIns="0" rtlCol="0" anchor="t" anchorCtr="0">
              <a:prstTxWarp prst="textArchUp">
                <a:avLst>
                  <a:gd name="adj" fmla="val 10729205"/>
                </a:avLst>
              </a:prstTxWarp>
              <a:noAutofit/>
            </a:bodyPr>
            <a:lstStyle/>
            <a:p>
              <a:pPr algn="ctr"/>
              <a:r>
                <a:rPr lang="en-US" b="1" dirty="0">
                  <a:solidFill>
                    <a:srgbClr val="000000"/>
                  </a:solidFill>
                </a:rPr>
                <a:t>Digital Business Acceleration</a:t>
              </a:r>
            </a:p>
          </p:txBody>
        </p:sp>
        <p:sp>
          <p:nvSpPr>
            <p:cNvPr id="14" name="TextBox 13">
              <a:extLst>
                <a:ext uri="{FF2B5EF4-FFF2-40B4-BE49-F238E27FC236}">
                  <a16:creationId xmlns:a16="http://schemas.microsoft.com/office/drawing/2014/main" id="{80A6E004-457D-4D6C-9F20-C32A8C0B2F9E}"/>
                </a:ext>
              </a:extLst>
            </p:cNvPr>
            <p:cNvSpPr txBox="1"/>
            <p:nvPr/>
          </p:nvSpPr>
          <p:spPr>
            <a:xfrm>
              <a:off x="5426390" y="3227802"/>
              <a:ext cx="1339221" cy="734900"/>
            </a:xfrm>
            <a:prstGeom prst="rect">
              <a:avLst/>
            </a:prstGeom>
            <a:noFill/>
          </p:spPr>
          <p:txBody>
            <a:bodyPr wrap="square" lIns="0" tIns="0" rIns="0" bIns="0" anchor="ctr" anchorCtr="0">
              <a:spAutoFit/>
            </a:bodyPr>
            <a:lstStyle/>
            <a:p>
              <a:pPr algn="ctr"/>
              <a:r>
                <a:rPr lang="en-US" b="1" dirty="0">
                  <a:solidFill>
                    <a:srgbClr val="000000"/>
                  </a:solidFill>
                </a:rPr>
                <a:t>Profitable Digital Growth </a:t>
              </a:r>
            </a:p>
          </p:txBody>
        </p:sp>
      </p:grpSp>
    </p:spTree>
    <p:extLst>
      <p:ext uri="{BB962C8B-B14F-4D97-AF65-F5344CB8AC3E}">
        <p14:creationId xmlns:p14="http://schemas.microsoft.com/office/powerpoint/2010/main" val="33759150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sp>
        <p:nvSpPr>
          <p:cNvPr id="431" name="Google Shape;431;p13"/>
          <p:cNvSpPr txBox="1">
            <a:spLocks noGrp="1"/>
          </p:cNvSpPr>
          <p:nvPr>
            <p:ph type="title"/>
          </p:nvPr>
        </p:nvSpPr>
        <p:spPr/>
        <p:txBody>
          <a:bodyPr/>
          <a:lstStyle/>
          <a:p>
            <a:pPr lvl="0"/>
            <a:r>
              <a:rPr lang="en-US" dirty="0"/>
              <a:t>Recommended Actions</a:t>
            </a:r>
          </a:p>
        </p:txBody>
      </p:sp>
      <p:sp>
        <p:nvSpPr>
          <p:cNvPr id="432" name="Google Shape;432;p13"/>
          <p:cNvSpPr txBox="1">
            <a:spLocks noGrp="1"/>
          </p:cNvSpPr>
          <p:nvPr>
            <p:ph type="body" sz="quarter" idx="10"/>
          </p:nvPr>
        </p:nvSpPr>
        <p:spPr>
          <a:xfrm>
            <a:off x="457200" y="1527047"/>
            <a:ext cx="11274552" cy="4590723"/>
          </a:xfrm>
        </p:spPr>
        <p:txBody>
          <a:bodyPr/>
          <a:lstStyle/>
          <a:p>
            <a:r>
              <a:rPr lang="en-US" dirty="0"/>
              <a:t>In difficult economic times, help your organization preserve resources by leveraging technology with business efficiency in mind.</a:t>
            </a:r>
          </a:p>
          <a:p>
            <a:r>
              <a:rPr lang="en-US" dirty="0"/>
              <a:t>Enhance your ability to attract and retain staff by using data as a starting point and then centering your strategy around your strengths as an organization.</a:t>
            </a:r>
          </a:p>
          <a:p>
            <a:r>
              <a:rPr lang="en-US" dirty="0"/>
              <a:t>Make the most of your digital investments by looking past technology and determining what business outcomes senior management values in light of business objectives.</a:t>
            </a:r>
          </a:p>
          <a:p>
            <a:r>
              <a:rPr lang="en-US" dirty="0"/>
              <a:t>Solidify senior management’s perception of return on digital investment by communicating business value in your digital initiatives.</a:t>
            </a:r>
          </a:p>
          <a:p>
            <a:r>
              <a:rPr lang="en-US" dirty="0"/>
              <a:t>Create maximum value in your organization by understanding the dynamic between the need to optimize costs and the need for strategic digital initiatives.</a:t>
            </a:r>
          </a:p>
        </p:txBody>
      </p:sp>
    </p:spTree>
    <p:extLst>
      <p:ext uri="{BB962C8B-B14F-4D97-AF65-F5344CB8AC3E}">
        <p14:creationId xmlns:p14="http://schemas.microsoft.com/office/powerpoint/2010/main" val="1745232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D2265-97F4-F244-AD01-4D57BA998334}"/>
              </a:ext>
            </a:extLst>
          </p:cNvPr>
          <p:cNvSpPr>
            <a:spLocks noGrp="1"/>
          </p:cNvSpPr>
          <p:nvPr>
            <p:ph type="title"/>
          </p:nvPr>
        </p:nvSpPr>
        <p:spPr/>
        <p:txBody>
          <a:bodyPr/>
          <a:lstStyle/>
          <a:p>
            <a:r>
              <a:rPr lang="en-US" dirty="0"/>
              <a:t>MSE IT Organization Fundamentals</a:t>
            </a:r>
          </a:p>
        </p:txBody>
      </p:sp>
      <p:sp>
        <p:nvSpPr>
          <p:cNvPr id="39" name="Text Box 91">
            <a:extLst>
              <a:ext uri="{FF2B5EF4-FFF2-40B4-BE49-F238E27FC236}">
                <a16:creationId xmlns:a16="http://schemas.microsoft.com/office/drawing/2014/main" id="{5B82D5E8-78AA-7344-8C8E-4F7DD3A77D69}"/>
              </a:ext>
            </a:extLst>
          </p:cNvPr>
          <p:cNvSpPr txBox="1">
            <a:spLocks noChangeAspect="1" noChangeArrowheads="1"/>
          </p:cNvSpPr>
          <p:nvPr/>
        </p:nvSpPr>
        <p:spPr bwMode="gray">
          <a:xfrm>
            <a:off x="457200" y="6088422"/>
            <a:ext cx="9303488" cy="212366"/>
          </a:xfrm>
          <a:prstGeom prst="rect">
            <a:avLst/>
          </a:prstGeom>
          <a:noFill/>
        </p:spPr>
        <p:txBody>
          <a:bodyPr wrap="square" lIns="0" tIns="0" rIns="0" bIns="27432" rtlCol="0" anchor="b" anchorCtr="0">
            <a:spAutoFit/>
          </a:bodyPr>
          <a:lstStyle>
            <a:defPPr>
              <a:defRPr lang="en-US"/>
            </a:defPPr>
            <a:lvl1pPr>
              <a:defRPr sz="800">
                <a:solidFill>
                  <a:schemeClr val="accent2">
                    <a:lumMod val="75000"/>
                  </a:schemeClr>
                </a:solidFill>
              </a:defRPr>
            </a:lvl1pPr>
          </a:lstStyle>
          <a:p>
            <a:pPr lvl="0"/>
            <a:r>
              <a:rPr lang="en-US" sz="1200" dirty="0">
                <a:solidFill>
                  <a:srgbClr val="6F7878"/>
                </a:solidFill>
              </a:rPr>
              <a:t>Source: Gartner</a:t>
            </a:r>
          </a:p>
        </p:txBody>
      </p:sp>
      <p:cxnSp>
        <p:nvCxnSpPr>
          <p:cNvPr id="81" name="Google Shape;365;p7">
            <a:extLst>
              <a:ext uri="{FF2B5EF4-FFF2-40B4-BE49-F238E27FC236}">
                <a16:creationId xmlns:a16="http://schemas.microsoft.com/office/drawing/2014/main" id="{51F3E4AA-3837-6346-8B35-E0ABB7C97F4A}"/>
              </a:ext>
            </a:extLst>
          </p:cNvPr>
          <p:cNvCxnSpPr>
            <a:cxnSpLocks/>
          </p:cNvCxnSpPr>
          <p:nvPr/>
        </p:nvCxnSpPr>
        <p:spPr>
          <a:xfrm>
            <a:off x="2752273" y="1654327"/>
            <a:ext cx="2725287" cy="0"/>
          </a:xfrm>
          <a:prstGeom prst="straightConnector1">
            <a:avLst/>
          </a:prstGeom>
          <a:noFill/>
          <a:ln w="25400" cap="flat" cmpd="sng">
            <a:solidFill>
              <a:srgbClr val="009AD7"/>
            </a:solidFill>
            <a:prstDash val="solid"/>
            <a:round/>
            <a:headEnd type="none" w="sm" len="sm"/>
            <a:tailEnd type="triangle" w="lg" len="med"/>
          </a:ln>
        </p:spPr>
      </p:cxnSp>
      <p:sp>
        <p:nvSpPr>
          <p:cNvPr id="82" name="Google Shape;366;p7">
            <a:extLst>
              <a:ext uri="{FF2B5EF4-FFF2-40B4-BE49-F238E27FC236}">
                <a16:creationId xmlns:a16="http://schemas.microsoft.com/office/drawing/2014/main" id="{DE6615B7-DB17-C24D-BFFB-1F4B83CE8C7B}"/>
              </a:ext>
            </a:extLst>
          </p:cNvPr>
          <p:cNvSpPr/>
          <p:nvPr/>
        </p:nvSpPr>
        <p:spPr>
          <a:xfrm flipH="1">
            <a:off x="457199" y="1315788"/>
            <a:ext cx="3716210" cy="677078"/>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solidFill>
            <a:schemeClr val="lt1"/>
          </a:solidFill>
          <a:ln w="25400" cap="flat" cmpd="sng">
            <a:solidFill>
              <a:srgbClr val="009AD7"/>
            </a:solidFill>
            <a:prstDash val="solid"/>
            <a:round/>
            <a:headEnd type="none" w="sm" len="sm"/>
            <a:tailEnd type="none" w="sm" len="sm"/>
          </a:ln>
        </p:spPr>
        <p:txBody>
          <a:bodyPr spcFirstLastPara="1" wrap="square" lIns="91425" tIns="91425" rIns="91425" bIns="91425" anchor="t" anchorCtr="0">
            <a:spAutoFit/>
          </a:bodyPr>
          <a:lstStyle/>
          <a:p>
            <a:pPr lvl="0">
              <a:buClr>
                <a:srgbClr val="000000"/>
              </a:buClr>
              <a:buSzPts val="1200"/>
            </a:pPr>
            <a:r>
              <a:rPr lang="en-US" sz="1600" dirty="0">
                <a:solidFill>
                  <a:srgbClr val="000000"/>
                </a:solidFill>
                <a:ea typeface="Arial"/>
                <a:cs typeface="Arial"/>
                <a:sym typeface="Arial"/>
              </a:rPr>
              <a:t>MSE CIOs typically have close relationships with business executives.</a:t>
            </a:r>
            <a:endParaRPr lang="en-US" sz="1600" b="0" i="0" u="none" strike="noStrike" cap="none" dirty="0">
              <a:solidFill>
                <a:srgbClr val="000000"/>
              </a:solidFill>
              <a:latin typeface="Arial"/>
              <a:ea typeface="Arial"/>
              <a:cs typeface="Arial"/>
              <a:sym typeface="Arial"/>
            </a:endParaRPr>
          </a:p>
        </p:txBody>
      </p:sp>
      <p:sp>
        <p:nvSpPr>
          <p:cNvPr id="8" name="Rounded Rectangle 7">
            <a:extLst>
              <a:ext uri="{FF2B5EF4-FFF2-40B4-BE49-F238E27FC236}">
                <a16:creationId xmlns:a16="http://schemas.microsoft.com/office/drawing/2014/main" id="{9957DBC5-FF65-8745-81FC-771B727778A6}"/>
              </a:ext>
            </a:extLst>
          </p:cNvPr>
          <p:cNvSpPr/>
          <p:nvPr/>
        </p:nvSpPr>
        <p:spPr>
          <a:xfrm>
            <a:off x="2438400" y="2640330"/>
            <a:ext cx="7315200" cy="2846070"/>
          </a:xfrm>
          <a:prstGeom prst="roundRect">
            <a:avLst>
              <a:gd name="adj" fmla="val 50000"/>
            </a:avLst>
          </a:prstGeom>
          <a:noFill/>
          <a:ln w="254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TextBox 25">
            <a:extLst>
              <a:ext uri="{FF2B5EF4-FFF2-40B4-BE49-F238E27FC236}">
                <a16:creationId xmlns:a16="http://schemas.microsoft.com/office/drawing/2014/main" id="{C9EEC4AF-D8F1-CA42-859E-6185302C5514}"/>
              </a:ext>
            </a:extLst>
          </p:cNvPr>
          <p:cNvSpPr txBox="1"/>
          <p:nvPr/>
        </p:nvSpPr>
        <p:spPr>
          <a:xfrm>
            <a:off x="2596391" y="2058217"/>
            <a:ext cx="1587293" cy="584775"/>
          </a:xfrm>
          <a:prstGeom prst="rect">
            <a:avLst/>
          </a:prstGeom>
          <a:noFill/>
        </p:spPr>
        <p:txBody>
          <a:bodyPr wrap="none" lIns="91440" rIns="91440" rtlCol="0" anchor="ctr" anchorCtr="0">
            <a:spAutoFit/>
          </a:bodyPr>
          <a:lstStyle/>
          <a:p>
            <a:pPr algn="r">
              <a:spcBef>
                <a:spcPts val="600"/>
              </a:spcBef>
            </a:pPr>
            <a:r>
              <a:rPr lang="en-US" sz="1600" dirty="0"/>
              <a:t>Infrastructure</a:t>
            </a:r>
            <a:br>
              <a:rPr lang="en-US" sz="1600" dirty="0"/>
            </a:br>
            <a:r>
              <a:rPr lang="en-US" sz="1600" dirty="0"/>
              <a:t>and Operations</a:t>
            </a:r>
          </a:p>
        </p:txBody>
      </p:sp>
      <p:sp>
        <p:nvSpPr>
          <p:cNvPr id="35" name="TextBox 34">
            <a:extLst>
              <a:ext uri="{FF2B5EF4-FFF2-40B4-BE49-F238E27FC236}">
                <a16:creationId xmlns:a16="http://schemas.microsoft.com/office/drawing/2014/main" id="{D1204EA8-770D-FF40-99BF-54FC1EC79DE4}"/>
              </a:ext>
            </a:extLst>
          </p:cNvPr>
          <p:cNvSpPr txBox="1">
            <a:spLocks/>
          </p:cNvSpPr>
          <p:nvPr/>
        </p:nvSpPr>
        <p:spPr>
          <a:xfrm>
            <a:off x="5196416" y="5755294"/>
            <a:ext cx="1799169" cy="338554"/>
          </a:xfrm>
          <a:prstGeom prst="rect">
            <a:avLst/>
          </a:prstGeom>
          <a:noFill/>
        </p:spPr>
        <p:txBody>
          <a:bodyPr wrap="square" lIns="91440" rIns="91440" rtlCol="0" anchor="ctr" anchorCtr="0">
            <a:spAutoFit/>
          </a:bodyPr>
          <a:lstStyle/>
          <a:p>
            <a:pPr algn="ctr">
              <a:spcBef>
                <a:spcPts val="600"/>
              </a:spcBef>
            </a:pPr>
            <a:r>
              <a:rPr lang="en-US" sz="1600" dirty="0"/>
              <a:t>Security and Risk</a:t>
            </a:r>
          </a:p>
        </p:txBody>
      </p:sp>
      <p:sp>
        <p:nvSpPr>
          <p:cNvPr id="37" name="TextBox 36">
            <a:extLst>
              <a:ext uri="{FF2B5EF4-FFF2-40B4-BE49-F238E27FC236}">
                <a16:creationId xmlns:a16="http://schemas.microsoft.com/office/drawing/2014/main" id="{E023A77C-C68A-0842-A03A-95E3EAAA6D80}"/>
              </a:ext>
            </a:extLst>
          </p:cNvPr>
          <p:cNvSpPr txBox="1">
            <a:spLocks/>
          </p:cNvSpPr>
          <p:nvPr/>
        </p:nvSpPr>
        <p:spPr>
          <a:xfrm>
            <a:off x="9029607" y="5247518"/>
            <a:ext cx="1029910" cy="584775"/>
          </a:xfrm>
          <a:prstGeom prst="rect">
            <a:avLst/>
          </a:prstGeom>
          <a:noFill/>
        </p:spPr>
        <p:txBody>
          <a:bodyPr wrap="square" lIns="91440" rIns="91440" rtlCol="0" anchor="ctr" anchorCtr="0">
            <a:spAutoFit/>
          </a:bodyPr>
          <a:lstStyle/>
          <a:p>
            <a:pPr>
              <a:spcBef>
                <a:spcPts val="600"/>
              </a:spcBef>
            </a:pPr>
            <a:r>
              <a:rPr lang="en-US" sz="1600" dirty="0"/>
              <a:t>Data and Analytics</a:t>
            </a:r>
          </a:p>
        </p:txBody>
      </p:sp>
      <p:sp>
        <p:nvSpPr>
          <p:cNvPr id="38" name="TextBox 37">
            <a:extLst>
              <a:ext uri="{FF2B5EF4-FFF2-40B4-BE49-F238E27FC236}">
                <a16:creationId xmlns:a16="http://schemas.microsoft.com/office/drawing/2014/main" id="{602B7035-DD8E-FA43-8565-FE81811526E0}"/>
              </a:ext>
            </a:extLst>
          </p:cNvPr>
          <p:cNvSpPr txBox="1">
            <a:spLocks/>
          </p:cNvSpPr>
          <p:nvPr/>
        </p:nvSpPr>
        <p:spPr>
          <a:xfrm>
            <a:off x="457199" y="3497292"/>
            <a:ext cx="1742613" cy="1077218"/>
          </a:xfrm>
          <a:prstGeom prst="rect">
            <a:avLst/>
          </a:prstGeom>
          <a:noFill/>
        </p:spPr>
        <p:txBody>
          <a:bodyPr wrap="square" lIns="91440" rIns="91440" rtlCol="0" anchor="ctr" anchorCtr="0">
            <a:spAutoFit/>
          </a:bodyPr>
          <a:lstStyle/>
          <a:p>
            <a:pPr algn="r">
              <a:spcBef>
                <a:spcPts val="600"/>
              </a:spcBef>
            </a:pPr>
            <a:r>
              <a:rPr lang="en-US" sz="1600" dirty="0"/>
              <a:t>Enterprise Architecture and Technology Innovation</a:t>
            </a:r>
          </a:p>
        </p:txBody>
      </p:sp>
      <p:sp>
        <p:nvSpPr>
          <p:cNvPr id="66" name="TextBox 65">
            <a:extLst>
              <a:ext uri="{FF2B5EF4-FFF2-40B4-BE49-F238E27FC236}">
                <a16:creationId xmlns:a16="http://schemas.microsoft.com/office/drawing/2014/main" id="{36B34F65-940F-E849-8996-CB8CA2382C78}"/>
              </a:ext>
            </a:extLst>
          </p:cNvPr>
          <p:cNvSpPr txBox="1">
            <a:spLocks/>
          </p:cNvSpPr>
          <p:nvPr/>
        </p:nvSpPr>
        <p:spPr>
          <a:xfrm>
            <a:off x="706836" y="5255891"/>
            <a:ext cx="2467128" cy="584775"/>
          </a:xfrm>
          <a:prstGeom prst="rect">
            <a:avLst/>
          </a:prstGeom>
          <a:noFill/>
        </p:spPr>
        <p:txBody>
          <a:bodyPr wrap="square" lIns="91440" rIns="91440" rtlCol="0" anchor="ctr" anchorCtr="0">
            <a:spAutoFit/>
          </a:bodyPr>
          <a:lstStyle/>
          <a:p>
            <a:pPr algn="r">
              <a:spcBef>
                <a:spcPts val="600"/>
              </a:spcBef>
            </a:pPr>
            <a:r>
              <a:rPr lang="en-US" sz="1600" dirty="0"/>
              <a:t>Sourcing, Procurement and Vendor Management</a:t>
            </a:r>
          </a:p>
        </p:txBody>
      </p:sp>
      <p:sp>
        <p:nvSpPr>
          <p:cNvPr id="68" name="TextBox 67">
            <a:extLst>
              <a:ext uri="{FF2B5EF4-FFF2-40B4-BE49-F238E27FC236}">
                <a16:creationId xmlns:a16="http://schemas.microsoft.com/office/drawing/2014/main" id="{A13D16E1-8FBB-5C45-B5F2-5EB832E872D6}"/>
              </a:ext>
            </a:extLst>
          </p:cNvPr>
          <p:cNvSpPr txBox="1">
            <a:spLocks/>
          </p:cNvSpPr>
          <p:nvPr/>
        </p:nvSpPr>
        <p:spPr>
          <a:xfrm>
            <a:off x="7980553" y="2308502"/>
            <a:ext cx="1276971" cy="338554"/>
          </a:xfrm>
          <a:prstGeom prst="rect">
            <a:avLst/>
          </a:prstGeom>
          <a:noFill/>
        </p:spPr>
        <p:txBody>
          <a:bodyPr wrap="square" lIns="91440" rIns="91440" rtlCol="0" anchor="ctr" anchorCtr="0">
            <a:spAutoFit/>
          </a:bodyPr>
          <a:lstStyle/>
          <a:p>
            <a:pPr>
              <a:spcBef>
                <a:spcPts val="600"/>
              </a:spcBef>
            </a:pPr>
            <a:r>
              <a:rPr lang="en-US" sz="1600" dirty="0"/>
              <a:t>Applications</a:t>
            </a:r>
          </a:p>
        </p:txBody>
      </p:sp>
      <p:sp>
        <p:nvSpPr>
          <p:cNvPr id="89" name="TextBox 88">
            <a:extLst>
              <a:ext uri="{FF2B5EF4-FFF2-40B4-BE49-F238E27FC236}">
                <a16:creationId xmlns:a16="http://schemas.microsoft.com/office/drawing/2014/main" id="{3B084BF7-728C-394F-AE31-9466C36DBD28}"/>
              </a:ext>
            </a:extLst>
          </p:cNvPr>
          <p:cNvSpPr txBox="1"/>
          <p:nvPr/>
        </p:nvSpPr>
        <p:spPr>
          <a:xfrm>
            <a:off x="9933156" y="1561742"/>
            <a:ext cx="1809230" cy="938719"/>
          </a:xfrm>
          <a:prstGeom prst="rect">
            <a:avLst/>
          </a:prstGeom>
          <a:noFill/>
        </p:spPr>
        <p:txBody>
          <a:bodyPr wrap="square" lIns="0" tIns="0" rIns="0" bIns="0" rtlCol="0" anchor="ctr" anchorCtr="0">
            <a:spAutoFit/>
          </a:bodyPr>
          <a:lstStyle/>
          <a:p>
            <a:pPr marL="171450" indent="-171450">
              <a:spcBef>
                <a:spcPts val="600"/>
              </a:spcBef>
              <a:buClr>
                <a:srgbClr val="009AD7"/>
              </a:buClr>
              <a:buSzPct val="160000"/>
              <a:buFont typeface="System Font Regular"/>
              <a:buChar char="●"/>
            </a:pPr>
            <a:r>
              <a:rPr lang="en-US" sz="1400" dirty="0"/>
              <a:t>Typically a Physical Role in an MSE</a:t>
            </a:r>
          </a:p>
          <a:p>
            <a:pPr marL="171450" indent="-171450">
              <a:spcBef>
                <a:spcPts val="600"/>
              </a:spcBef>
              <a:buClr>
                <a:srgbClr val="6F7878"/>
              </a:buClr>
              <a:buSzPct val="160000"/>
              <a:buFont typeface="System Font Regular"/>
              <a:buChar char="●"/>
            </a:pPr>
            <a:r>
              <a:rPr lang="en-US" sz="1400" dirty="0"/>
              <a:t>Typically a Virtual Role in an MSE</a:t>
            </a:r>
          </a:p>
        </p:txBody>
      </p:sp>
      <p:grpSp>
        <p:nvGrpSpPr>
          <p:cNvPr id="45" name="Group 44">
            <a:extLst>
              <a:ext uri="{FF2B5EF4-FFF2-40B4-BE49-F238E27FC236}">
                <a16:creationId xmlns:a16="http://schemas.microsoft.com/office/drawing/2014/main" id="{B2ABF15E-BF08-E444-B27E-91F2CC21E2FE}"/>
              </a:ext>
            </a:extLst>
          </p:cNvPr>
          <p:cNvGrpSpPr/>
          <p:nvPr/>
        </p:nvGrpSpPr>
        <p:grpSpPr>
          <a:xfrm>
            <a:off x="2199813" y="3761581"/>
            <a:ext cx="548640" cy="548640"/>
            <a:chOff x="2460746" y="1737360"/>
            <a:chExt cx="548640" cy="548640"/>
          </a:xfrm>
        </p:grpSpPr>
        <p:sp>
          <p:nvSpPr>
            <p:cNvPr id="46" name="Oval 45">
              <a:extLst>
                <a:ext uri="{FF2B5EF4-FFF2-40B4-BE49-F238E27FC236}">
                  <a16:creationId xmlns:a16="http://schemas.microsoft.com/office/drawing/2014/main" id="{9DCF7AAC-7FC3-0048-9720-5B9AB98A75CA}"/>
                </a:ext>
              </a:extLst>
            </p:cNvPr>
            <p:cNvSpPr>
              <a:spLocks noChangeAspect="1"/>
            </p:cNvSpPr>
            <p:nvPr/>
          </p:nvSpPr>
          <p:spPr>
            <a:xfrm>
              <a:off x="2460746" y="1737360"/>
              <a:ext cx="548640" cy="548640"/>
            </a:xfrm>
            <a:prstGeom prst="ellips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7" name="Graphic 46">
              <a:extLst>
                <a:ext uri="{FF2B5EF4-FFF2-40B4-BE49-F238E27FC236}">
                  <a16:creationId xmlns:a16="http://schemas.microsoft.com/office/drawing/2014/main" id="{6D12BCED-DCEA-204A-95D7-CFAB60EE3C3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5036" y="1810512"/>
              <a:ext cx="480060" cy="373380"/>
            </a:xfrm>
            <a:prstGeom prst="rect">
              <a:avLst/>
            </a:prstGeom>
          </p:spPr>
        </p:pic>
      </p:grpSp>
      <p:grpSp>
        <p:nvGrpSpPr>
          <p:cNvPr id="56" name="Group 55">
            <a:extLst>
              <a:ext uri="{FF2B5EF4-FFF2-40B4-BE49-F238E27FC236}">
                <a16:creationId xmlns:a16="http://schemas.microsoft.com/office/drawing/2014/main" id="{6B835136-E582-794E-8BD9-FA3D2D086669}"/>
              </a:ext>
            </a:extLst>
          </p:cNvPr>
          <p:cNvGrpSpPr/>
          <p:nvPr/>
        </p:nvGrpSpPr>
        <p:grpSpPr>
          <a:xfrm>
            <a:off x="4175760" y="2368768"/>
            <a:ext cx="548640" cy="548640"/>
            <a:chOff x="2460746" y="1737360"/>
            <a:chExt cx="548640" cy="548640"/>
          </a:xfrm>
        </p:grpSpPr>
        <p:sp>
          <p:nvSpPr>
            <p:cNvPr id="57" name="Oval 56">
              <a:extLst>
                <a:ext uri="{FF2B5EF4-FFF2-40B4-BE49-F238E27FC236}">
                  <a16:creationId xmlns:a16="http://schemas.microsoft.com/office/drawing/2014/main" id="{1EF8671D-2530-384E-A9E0-12A7F10726F5}"/>
                </a:ext>
              </a:extLst>
            </p:cNvPr>
            <p:cNvSpPr>
              <a:spLocks noChangeAspect="1"/>
            </p:cNvSpPr>
            <p:nvPr/>
          </p:nvSpPr>
          <p:spPr>
            <a:xfrm>
              <a:off x="2460746" y="1737360"/>
              <a:ext cx="548640" cy="548640"/>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58" name="Graphic 57">
              <a:extLst>
                <a:ext uri="{FF2B5EF4-FFF2-40B4-BE49-F238E27FC236}">
                  <a16:creationId xmlns:a16="http://schemas.microsoft.com/office/drawing/2014/main" id="{988DC61B-85ED-7B4F-8FF7-1B2A6B694F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5036" y="1810512"/>
              <a:ext cx="480060" cy="373380"/>
            </a:xfrm>
            <a:prstGeom prst="rect">
              <a:avLst/>
            </a:prstGeom>
          </p:spPr>
        </p:pic>
      </p:grpSp>
      <p:grpSp>
        <p:nvGrpSpPr>
          <p:cNvPr id="59" name="Group 58">
            <a:extLst>
              <a:ext uri="{FF2B5EF4-FFF2-40B4-BE49-F238E27FC236}">
                <a16:creationId xmlns:a16="http://schemas.microsoft.com/office/drawing/2014/main" id="{A612BE6D-36EA-134E-9AA0-2AD32D6B3E26}"/>
              </a:ext>
            </a:extLst>
          </p:cNvPr>
          <p:cNvGrpSpPr/>
          <p:nvPr/>
        </p:nvGrpSpPr>
        <p:grpSpPr>
          <a:xfrm>
            <a:off x="7461504" y="2368768"/>
            <a:ext cx="548640" cy="548640"/>
            <a:chOff x="2460746" y="1737360"/>
            <a:chExt cx="548640" cy="548640"/>
          </a:xfrm>
        </p:grpSpPr>
        <p:sp>
          <p:nvSpPr>
            <p:cNvPr id="60" name="Oval 59">
              <a:extLst>
                <a:ext uri="{FF2B5EF4-FFF2-40B4-BE49-F238E27FC236}">
                  <a16:creationId xmlns:a16="http://schemas.microsoft.com/office/drawing/2014/main" id="{F514E91D-77AA-CE4D-BEBD-A3BA216A75F5}"/>
                </a:ext>
              </a:extLst>
            </p:cNvPr>
            <p:cNvSpPr>
              <a:spLocks noChangeAspect="1"/>
            </p:cNvSpPr>
            <p:nvPr/>
          </p:nvSpPr>
          <p:spPr>
            <a:xfrm>
              <a:off x="2460746" y="1737360"/>
              <a:ext cx="548640" cy="548640"/>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61" name="Graphic 60">
              <a:extLst>
                <a:ext uri="{FF2B5EF4-FFF2-40B4-BE49-F238E27FC236}">
                  <a16:creationId xmlns:a16="http://schemas.microsoft.com/office/drawing/2014/main" id="{6D7A2491-5B81-3748-AE41-A95129944F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5036" y="1810512"/>
              <a:ext cx="480060" cy="373380"/>
            </a:xfrm>
            <a:prstGeom prst="rect">
              <a:avLst/>
            </a:prstGeom>
          </p:spPr>
        </p:pic>
      </p:grpSp>
      <p:sp>
        <p:nvSpPr>
          <p:cNvPr id="24" name="TextBox 23">
            <a:extLst>
              <a:ext uri="{FF2B5EF4-FFF2-40B4-BE49-F238E27FC236}">
                <a16:creationId xmlns:a16="http://schemas.microsoft.com/office/drawing/2014/main" id="{1D1746D2-C1BF-264A-A493-8B7774927F70}"/>
              </a:ext>
            </a:extLst>
          </p:cNvPr>
          <p:cNvSpPr txBox="1"/>
          <p:nvPr/>
        </p:nvSpPr>
        <p:spPr>
          <a:xfrm>
            <a:off x="5642125" y="2096260"/>
            <a:ext cx="907750" cy="269416"/>
          </a:xfrm>
          <a:prstGeom prst="rect">
            <a:avLst/>
          </a:prstGeom>
          <a:noFill/>
        </p:spPr>
        <p:txBody>
          <a:bodyPr wrap="square" lIns="0" tIns="0" rIns="0" bIns="0" rtlCol="0" anchor="ctr" anchorCtr="0">
            <a:noAutofit/>
          </a:bodyPr>
          <a:lstStyle/>
          <a:p>
            <a:pPr algn="ctr">
              <a:spcBef>
                <a:spcPts val="600"/>
              </a:spcBef>
            </a:pPr>
            <a:r>
              <a:rPr lang="en-US" sz="1600" b="1" dirty="0"/>
              <a:t>CIO</a:t>
            </a:r>
          </a:p>
        </p:txBody>
      </p:sp>
      <p:grpSp>
        <p:nvGrpSpPr>
          <p:cNvPr id="53" name="Group 52">
            <a:extLst>
              <a:ext uri="{FF2B5EF4-FFF2-40B4-BE49-F238E27FC236}">
                <a16:creationId xmlns:a16="http://schemas.microsoft.com/office/drawing/2014/main" id="{D2013F42-09D6-6147-B09C-57F3C66EF952}"/>
              </a:ext>
            </a:extLst>
          </p:cNvPr>
          <p:cNvGrpSpPr/>
          <p:nvPr/>
        </p:nvGrpSpPr>
        <p:grpSpPr>
          <a:xfrm>
            <a:off x="5821680" y="2368768"/>
            <a:ext cx="548640" cy="548640"/>
            <a:chOff x="2460746" y="1737360"/>
            <a:chExt cx="548640" cy="548640"/>
          </a:xfrm>
        </p:grpSpPr>
        <p:sp>
          <p:nvSpPr>
            <p:cNvPr id="54" name="Oval 53">
              <a:extLst>
                <a:ext uri="{FF2B5EF4-FFF2-40B4-BE49-F238E27FC236}">
                  <a16:creationId xmlns:a16="http://schemas.microsoft.com/office/drawing/2014/main" id="{E6747C9D-996B-5448-8944-7F28ABCAA27F}"/>
                </a:ext>
              </a:extLst>
            </p:cNvPr>
            <p:cNvSpPr>
              <a:spLocks noChangeAspect="1"/>
            </p:cNvSpPr>
            <p:nvPr/>
          </p:nvSpPr>
          <p:spPr>
            <a:xfrm>
              <a:off x="2460746" y="1737360"/>
              <a:ext cx="548640" cy="5486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55" name="Graphic 54">
              <a:extLst>
                <a:ext uri="{FF2B5EF4-FFF2-40B4-BE49-F238E27FC236}">
                  <a16:creationId xmlns:a16="http://schemas.microsoft.com/office/drawing/2014/main" id="{BEBDCCEA-0092-C647-BE61-A466CF1F298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5036" y="1810512"/>
              <a:ext cx="480060" cy="373380"/>
            </a:xfrm>
            <a:prstGeom prst="rect">
              <a:avLst/>
            </a:prstGeom>
          </p:spPr>
        </p:pic>
      </p:grpSp>
      <p:grpSp>
        <p:nvGrpSpPr>
          <p:cNvPr id="62" name="Group 61">
            <a:extLst>
              <a:ext uri="{FF2B5EF4-FFF2-40B4-BE49-F238E27FC236}">
                <a16:creationId xmlns:a16="http://schemas.microsoft.com/office/drawing/2014/main" id="{8A8C0EA3-B323-CD47-B370-6FF0DC27CCB4}"/>
              </a:ext>
            </a:extLst>
          </p:cNvPr>
          <p:cNvGrpSpPr/>
          <p:nvPr/>
        </p:nvGrpSpPr>
        <p:grpSpPr>
          <a:xfrm>
            <a:off x="5821680" y="1432765"/>
            <a:ext cx="548640" cy="548640"/>
            <a:chOff x="2479877" y="2005664"/>
            <a:chExt cx="548640" cy="548640"/>
          </a:xfrm>
        </p:grpSpPr>
        <p:sp>
          <p:nvSpPr>
            <p:cNvPr id="63" name="Oval 62">
              <a:extLst>
                <a:ext uri="{FF2B5EF4-FFF2-40B4-BE49-F238E27FC236}">
                  <a16:creationId xmlns:a16="http://schemas.microsoft.com/office/drawing/2014/main" id="{7B2C8DDA-8F79-A648-B749-5409915ACA53}"/>
                </a:ext>
              </a:extLst>
            </p:cNvPr>
            <p:cNvSpPr>
              <a:spLocks noChangeAspect="1"/>
            </p:cNvSpPr>
            <p:nvPr/>
          </p:nvSpPr>
          <p:spPr>
            <a:xfrm>
              <a:off x="2479877" y="2005664"/>
              <a:ext cx="548640" cy="54864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64" name="Graphic 63">
              <a:extLst>
                <a:ext uri="{FF2B5EF4-FFF2-40B4-BE49-F238E27FC236}">
                  <a16:creationId xmlns:a16="http://schemas.microsoft.com/office/drawing/2014/main" id="{77517AE0-7DD8-174C-8042-F78FD32D27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6912" y="2041510"/>
              <a:ext cx="480060" cy="373380"/>
            </a:xfrm>
            <a:prstGeom prst="rect">
              <a:avLst/>
            </a:prstGeom>
          </p:spPr>
        </p:pic>
      </p:grpSp>
      <p:sp>
        <p:nvSpPr>
          <p:cNvPr id="65" name="TextBox 64">
            <a:extLst>
              <a:ext uri="{FF2B5EF4-FFF2-40B4-BE49-F238E27FC236}">
                <a16:creationId xmlns:a16="http://schemas.microsoft.com/office/drawing/2014/main" id="{970D31B2-EA6E-BA42-8A59-5B58C095CAE8}"/>
              </a:ext>
            </a:extLst>
          </p:cNvPr>
          <p:cNvSpPr txBox="1"/>
          <p:nvPr/>
        </p:nvSpPr>
        <p:spPr>
          <a:xfrm>
            <a:off x="5548414" y="1153545"/>
            <a:ext cx="1095172" cy="264848"/>
          </a:xfrm>
          <a:prstGeom prst="rect">
            <a:avLst/>
          </a:prstGeom>
          <a:noFill/>
        </p:spPr>
        <p:txBody>
          <a:bodyPr wrap="square" lIns="0" tIns="0" rIns="0" bIns="0" rtlCol="0" anchor="ctr" anchorCtr="0">
            <a:noAutofit/>
          </a:bodyPr>
          <a:lstStyle/>
          <a:p>
            <a:pPr algn="ctr">
              <a:spcBef>
                <a:spcPts val="600"/>
              </a:spcBef>
            </a:pPr>
            <a:r>
              <a:rPr lang="en-US" sz="1600" b="1" dirty="0"/>
              <a:t>Business</a:t>
            </a:r>
          </a:p>
        </p:txBody>
      </p:sp>
      <p:sp>
        <p:nvSpPr>
          <p:cNvPr id="12" name="Rectangle 11">
            <a:extLst>
              <a:ext uri="{FF2B5EF4-FFF2-40B4-BE49-F238E27FC236}">
                <a16:creationId xmlns:a16="http://schemas.microsoft.com/office/drawing/2014/main" id="{7F2BB7C3-BE76-6F47-99D7-F42A408E911F}"/>
              </a:ext>
            </a:extLst>
          </p:cNvPr>
          <p:cNvSpPr/>
          <p:nvPr/>
        </p:nvSpPr>
        <p:spPr>
          <a:xfrm>
            <a:off x="5569800" y="1140883"/>
            <a:ext cx="1052399" cy="1861932"/>
          </a:xfrm>
          <a:prstGeom prst="rect">
            <a:avLst/>
          </a:prstGeom>
          <a:noFill/>
          <a:ln w="25400">
            <a:solidFill>
              <a:srgbClr val="009AD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93" name="Group 92">
            <a:extLst>
              <a:ext uri="{FF2B5EF4-FFF2-40B4-BE49-F238E27FC236}">
                <a16:creationId xmlns:a16="http://schemas.microsoft.com/office/drawing/2014/main" id="{D3D519B3-8542-CA4B-AD90-A184320FE618}"/>
              </a:ext>
            </a:extLst>
          </p:cNvPr>
          <p:cNvGrpSpPr/>
          <p:nvPr/>
        </p:nvGrpSpPr>
        <p:grpSpPr>
          <a:xfrm>
            <a:off x="3188268" y="5107872"/>
            <a:ext cx="548640" cy="548640"/>
            <a:chOff x="2460746" y="1737360"/>
            <a:chExt cx="548640" cy="548640"/>
          </a:xfrm>
        </p:grpSpPr>
        <p:sp>
          <p:nvSpPr>
            <p:cNvPr id="94" name="Oval 93">
              <a:extLst>
                <a:ext uri="{FF2B5EF4-FFF2-40B4-BE49-F238E27FC236}">
                  <a16:creationId xmlns:a16="http://schemas.microsoft.com/office/drawing/2014/main" id="{A08B78B4-BC41-6F48-B5B1-5E972C001B43}"/>
                </a:ext>
              </a:extLst>
            </p:cNvPr>
            <p:cNvSpPr>
              <a:spLocks noChangeAspect="1"/>
            </p:cNvSpPr>
            <p:nvPr/>
          </p:nvSpPr>
          <p:spPr>
            <a:xfrm>
              <a:off x="2460746" y="1737360"/>
              <a:ext cx="548640" cy="548640"/>
            </a:xfrm>
            <a:prstGeom prst="ellips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95" name="Graphic 94">
              <a:extLst>
                <a:ext uri="{FF2B5EF4-FFF2-40B4-BE49-F238E27FC236}">
                  <a16:creationId xmlns:a16="http://schemas.microsoft.com/office/drawing/2014/main" id="{16CAD101-36C1-D240-8348-A3458AB9092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5036" y="1810512"/>
              <a:ext cx="480060" cy="373380"/>
            </a:xfrm>
            <a:prstGeom prst="rect">
              <a:avLst/>
            </a:prstGeom>
          </p:spPr>
        </p:pic>
      </p:grpSp>
      <p:grpSp>
        <p:nvGrpSpPr>
          <p:cNvPr id="96" name="Group 95">
            <a:extLst>
              <a:ext uri="{FF2B5EF4-FFF2-40B4-BE49-F238E27FC236}">
                <a16:creationId xmlns:a16="http://schemas.microsoft.com/office/drawing/2014/main" id="{549668CE-EEF7-444F-8A41-33EFB825F157}"/>
              </a:ext>
            </a:extLst>
          </p:cNvPr>
          <p:cNvGrpSpPr/>
          <p:nvPr/>
        </p:nvGrpSpPr>
        <p:grpSpPr>
          <a:xfrm>
            <a:off x="5820156" y="5212080"/>
            <a:ext cx="548640" cy="548640"/>
            <a:chOff x="2460746" y="1737360"/>
            <a:chExt cx="548640" cy="548640"/>
          </a:xfrm>
        </p:grpSpPr>
        <p:sp>
          <p:nvSpPr>
            <p:cNvPr id="97" name="Oval 96">
              <a:extLst>
                <a:ext uri="{FF2B5EF4-FFF2-40B4-BE49-F238E27FC236}">
                  <a16:creationId xmlns:a16="http://schemas.microsoft.com/office/drawing/2014/main" id="{946F9BCD-34EF-AF40-AAAB-C90461EA665B}"/>
                </a:ext>
              </a:extLst>
            </p:cNvPr>
            <p:cNvSpPr>
              <a:spLocks noChangeAspect="1"/>
            </p:cNvSpPr>
            <p:nvPr/>
          </p:nvSpPr>
          <p:spPr>
            <a:xfrm>
              <a:off x="2460746" y="1737360"/>
              <a:ext cx="548640" cy="548640"/>
            </a:xfrm>
            <a:prstGeom prst="ellips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98" name="Graphic 97">
              <a:extLst>
                <a:ext uri="{FF2B5EF4-FFF2-40B4-BE49-F238E27FC236}">
                  <a16:creationId xmlns:a16="http://schemas.microsoft.com/office/drawing/2014/main" id="{4E9D0B4D-19E3-4C4E-BF9A-146B63D819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5036" y="1810512"/>
              <a:ext cx="480060" cy="373380"/>
            </a:xfrm>
            <a:prstGeom prst="rect">
              <a:avLst/>
            </a:prstGeom>
          </p:spPr>
        </p:pic>
      </p:grpSp>
      <p:grpSp>
        <p:nvGrpSpPr>
          <p:cNvPr id="99" name="Group 98">
            <a:extLst>
              <a:ext uri="{FF2B5EF4-FFF2-40B4-BE49-F238E27FC236}">
                <a16:creationId xmlns:a16="http://schemas.microsoft.com/office/drawing/2014/main" id="{41029642-0842-6144-B02D-26647B1108CC}"/>
              </a:ext>
            </a:extLst>
          </p:cNvPr>
          <p:cNvGrpSpPr/>
          <p:nvPr/>
        </p:nvGrpSpPr>
        <p:grpSpPr>
          <a:xfrm>
            <a:off x="8458933" y="5107872"/>
            <a:ext cx="548640" cy="548640"/>
            <a:chOff x="2460746" y="1737360"/>
            <a:chExt cx="548640" cy="548640"/>
          </a:xfrm>
        </p:grpSpPr>
        <p:sp>
          <p:nvSpPr>
            <p:cNvPr id="100" name="Oval 99">
              <a:extLst>
                <a:ext uri="{FF2B5EF4-FFF2-40B4-BE49-F238E27FC236}">
                  <a16:creationId xmlns:a16="http://schemas.microsoft.com/office/drawing/2014/main" id="{DAA3CCF0-EF7C-8242-B039-C08CFCDAFE80}"/>
                </a:ext>
              </a:extLst>
            </p:cNvPr>
            <p:cNvSpPr>
              <a:spLocks noChangeAspect="1"/>
            </p:cNvSpPr>
            <p:nvPr/>
          </p:nvSpPr>
          <p:spPr>
            <a:xfrm>
              <a:off x="2460746" y="1737360"/>
              <a:ext cx="548640" cy="548640"/>
            </a:xfrm>
            <a:prstGeom prst="ellips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01" name="Graphic 100">
              <a:extLst>
                <a:ext uri="{FF2B5EF4-FFF2-40B4-BE49-F238E27FC236}">
                  <a16:creationId xmlns:a16="http://schemas.microsoft.com/office/drawing/2014/main" id="{75292C49-09CE-8C43-8BE2-17F01CF4CE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5036" y="1810512"/>
              <a:ext cx="480060" cy="373380"/>
            </a:xfrm>
            <a:prstGeom prst="rect">
              <a:avLst/>
            </a:prstGeom>
          </p:spPr>
        </p:pic>
      </p:grpSp>
      <p:grpSp>
        <p:nvGrpSpPr>
          <p:cNvPr id="110" name="Group 109">
            <a:extLst>
              <a:ext uri="{FF2B5EF4-FFF2-40B4-BE49-F238E27FC236}">
                <a16:creationId xmlns:a16="http://schemas.microsoft.com/office/drawing/2014/main" id="{4091AFF4-EEE9-5B40-9577-B45DF55BD09B}"/>
              </a:ext>
            </a:extLst>
          </p:cNvPr>
          <p:cNvGrpSpPr/>
          <p:nvPr/>
        </p:nvGrpSpPr>
        <p:grpSpPr>
          <a:xfrm>
            <a:off x="9463364" y="3761581"/>
            <a:ext cx="548640" cy="548640"/>
            <a:chOff x="2460746" y="1737360"/>
            <a:chExt cx="548640" cy="548640"/>
          </a:xfrm>
        </p:grpSpPr>
        <p:sp>
          <p:nvSpPr>
            <p:cNvPr id="111" name="Oval 110">
              <a:extLst>
                <a:ext uri="{FF2B5EF4-FFF2-40B4-BE49-F238E27FC236}">
                  <a16:creationId xmlns:a16="http://schemas.microsoft.com/office/drawing/2014/main" id="{FC37D620-E8A9-AB4C-A548-0D3611F40080}"/>
                </a:ext>
              </a:extLst>
            </p:cNvPr>
            <p:cNvSpPr>
              <a:spLocks noChangeAspect="1"/>
            </p:cNvSpPr>
            <p:nvPr/>
          </p:nvSpPr>
          <p:spPr>
            <a:xfrm>
              <a:off x="2460746" y="1737360"/>
              <a:ext cx="548640" cy="548640"/>
            </a:xfrm>
            <a:prstGeom prst="ellips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2" name="Graphic 111">
              <a:extLst>
                <a:ext uri="{FF2B5EF4-FFF2-40B4-BE49-F238E27FC236}">
                  <a16:creationId xmlns:a16="http://schemas.microsoft.com/office/drawing/2014/main" id="{98B2245A-6462-924C-A7DB-6409AF4F1B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95036" y="1810512"/>
              <a:ext cx="480060" cy="373380"/>
            </a:xfrm>
            <a:prstGeom prst="rect">
              <a:avLst/>
            </a:prstGeom>
          </p:spPr>
        </p:pic>
      </p:grpSp>
      <p:sp>
        <p:nvSpPr>
          <p:cNvPr id="113" name="TextBox 112">
            <a:extLst>
              <a:ext uri="{FF2B5EF4-FFF2-40B4-BE49-F238E27FC236}">
                <a16:creationId xmlns:a16="http://schemas.microsoft.com/office/drawing/2014/main" id="{2B07B255-1DE7-6746-9B45-6AE4E8D3AEE2}"/>
              </a:ext>
            </a:extLst>
          </p:cNvPr>
          <p:cNvSpPr txBox="1">
            <a:spLocks/>
          </p:cNvSpPr>
          <p:nvPr/>
        </p:nvSpPr>
        <p:spPr>
          <a:xfrm>
            <a:off x="10012004" y="3620403"/>
            <a:ext cx="1373718" cy="830997"/>
          </a:xfrm>
          <a:prstGeom prst="rect">
            <a:avLst/>
          </a:prstGeom>
          <a:noFill/>
        </p:spPr>
        <p:txBody>
          <a:bodyPr wrap="square" lIns="91440" rIns="91440" rtlCol="0" anchor="ctr" anchorCtr="0">
            <a:spAutoFit/>
          </a:bodyPr>
          <a:lstStyle/>
          <a:p>
            <a:pPr>
              <a:spcBef>
                <a:spcPts val="600"/>
              </a:spcBef>
            </a:pPr>
            <a:r>
              <a:rPr lang="en-US" sz="1600" dirty="0"/>
              <a:t>Program and </a:t>
            </a:r>
            <a:br>
              <a:rPr lang="en-US" sz="1600" dirty="0"/>
            </a:br>
            <a:r>
              <a:rPr lang="en-US" sz="1600" dirty="0"/>
              <a:t>Portfolio Management</a:t>
            </a:r>
          </a:p>
        </p:txBody>
      </p:sp>
      <p:graphicFrame>
        <p:nvGraphicFramePr>
          <p:cNvPr id="21" name="Chart 20">
            <a:extLst>
              <a:ext uri="{FF2B5EF4-FFF2-40B4-BE49-F238E27FC236}">
                <a16:creationId xmlns:a16="http://schemas.microsoft.com/office/drawing/2014/main" id="{92426D16-684F-2042-9D60-4DEF5E5B48AD}"/>
              </a:ext>
            </a:extLst>
          </p:cNvPr>
          <p:cNvGraphicFramePr/>
          <p:nvPr>
            <p:extLst>
              <p:ext uri="{D42A27DB-BD31-4B8C-83A1-F6EECF244321}">
                <p14:modId xmlns:p14="http://schemas.microsoft.com/office/powerpoint/2010/main" val="4219712555"/>
              </p:ext>
            </p:extLst>
          </p:nvPr>
        </p:nvGraphicFramePr>
        <p:xfrm>
          <a:off x="3215640" y="3710789"/>
          <a:ext cx="5760720" cy="1267570"/>
        </p:xfrm>
        <a:graphic>
          <a:graphicData uri="http://schemas.openxmlformats.org/drawingml/2006/chart">
            <c:chart xmlns:c="http://schemas.openxmlformats.org/drawingml/2006/chart" xmlns:r="http://schemas.openxmlformats.org/officeDocument/2006/relationships" r:id="rId5"/>
          </a:graphicData>
        </a:graphic>
      </p:graphicFrame>
      <p:sp>
        <p:nvSpPr>
          <p:cNvPr id="69" name="TextBox 68">
            <a:extLst>
              <a:ext uri="{FF2B5EF4-FFF2-40B4-BE49-F238E27FC236}">
                <a16:creationId xmlns:a16="http://schemas.microsoft.com/office/drawing/2014/main" id="{18D01E0F-888F-AB45-9FBE-ABC59FBA40FB}"/>
              </a:ext>
            </a:extLst>
          </p:cNvPr>
          <p:cNvSpPr txBox="1"/>
          <p:nvPr/>
        </p:nvSpPr>
        <p:spPr>
          <a:xfrm>
            <a:off x="3475696" y="3085890"/>
            <a:ext cx="5240608" cy="538609"/>
          </a:xfrm>
          <a:prstGeom prst="rect">
            <a:avLst/>
          </a:prstGeom>
          <a:noFill/>
        </p:spPr>
        <p:txBody>
          <a:bodyPr wrap="square" lIns="0" tIns="0" rIns="0" rtlCol="0" anchor="ctr" anchorCtr="0">
            <a:spAutoFit/>
          </a:bodyPr>
          <a:lstStyle/>
          <a:p>
            <a:pPr algn="ctr">
              <a:spcBef>
                <a:spcPts val="600"/>
              </a:spcBef>
            </a:pPr>
            <a:r>
              <a:rPr lang="en-US" sz="1600" b="1" dirty="0"/>
              <a:t>Midsize Enterprise IT Spend as a Percentage of Revenue (By Annual Revenue Size)</a:t>
            </a:r>
          </a:p>
        </p:txBody>
      </p:sp>
    </p:spTree>
    <p:extLst>
      <p:ext uri="{BB962C8B-B14F-4D97-AF65-F5344CB8AC3E}">
        <p14:creationId xmlns:p14="http://schemas.microsoft.com/office/powerpoint/2010/main" val="19427407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dirty="0"/>
              <a:t>Recommended Gartner Research</a:t>
            </a:r>
          </a:p>
        </p:txBody>
      </p:sp>
      <p:sp>
        <p:nvSpPr>
          <p:cNvPr id="3" name="Text Placeholder 2">
            <a:extLst>
              <a:ext uri="{FF2B5EF4-FFF2-40B4-BE49-F238E27FC236}">
                <a16:creationId xmlns:a16="http://schemas.microsoft.com/office/drawing/2014/main" id="{FD17A952-6A0F-4343-86FD-A506304C267E}"/>
              </a:ext>
            </a:extLst>
          </p:cNvPr>
          <p:cNvSpPr>
            <a:spLocks noGrp="1"/>
          </p:cNvSpPr>
          <p:nvPr>
            <p:ph type="body" sz="quarter" idx="10"/>
          </p:nvPr>
        </p:nvSpPr>
        <p:spPr>
          <a:xfrm>
            <a:off x="457200" y="1435608"/>
            <a:ext cx="11276013" cy="4460873"/>
          </a:xfrm>
        </p:spPr>
        <p:txBody>
          <a:bodyPr/>
          <a:lstStyle/>
          <a:p>
            <a:r>
              <a:rPr lang="en-US" sz="2000" b="1" dirty="0">
                <a:hlinkClick r:id="rId3"/>
              </a:rPr>
              <a:t>Midsize Enterprise CIO Leadership Primer for 2023</a:t>
            </a:r>
            <a:br>
              <a:rPr lang="en-US" sz="2000" dirty="0"/>
            </a:br>
            <a:r>
              <a:rPr lang="en-US" sz="2000" dirty="0"/>
              <a:t>Joseph Provenza (G00779021)</a:t>
            </a:r>
          </a:p>
          <a:p>
            <a:r>
              <a:rPr lang="en-US" sz="2000" b="1" dirty="0">
                <a:hlinkClick r:id="rId4"/>
              </a:rPr>
              <a:t>3 Dynamics That Drive Midsize Enterprises</a:t>
            </a:r>
            <a:br>
              <a:rPr lang="en-US" sz="2000" dirty="0"/>
            </a:br>
            <a:r>
              <a:rPr lang="en-US" sz="2000" dirty="0"/>
              <a:t>Mike Cisek, Joseph Provenza (G00733610)</a:t>
            </a:r>
          </a:p>
          <a:p>
            <a:r>
              <a:rPr lang="en-US" sz="2000" b="1" dirty="0">
                <a:hlinkClick r:id="rId5"/>
              </a:rPr>
              <a:t>7 Rules for Demonstrating the Business Value of IT</a:t>
            </a:r>
            <a:br>
              <a:rPr lang="en-US" sz="2000" dirty="0">
                <a:hlinkClick r:id="rId5"/>
              </a:rPr>
            </a:br>
            <a:r>
              <a:rPr lang="en-US" sz="2000" dirty="0"/>
              <a:t>Robert Naegle, Chris Ganly, Galliopi Demetriou (G00766761)</a:t>
            </a:r>
          </a:p>
          <a:p>
            <a:r>
              <a:rPr lang="en-US" sz="2000" b="1" dirty="0">
                <a:hlinkClick r:id="rId6"/>
              </a:rPr>
              <a:t>Infographic: Top Priorities, Technologies and Challenges in Midsize Enterprises in 2023</a:t>
            </a:r>
            <a:br>
              <a:rPr lang="en-US" sz="2000" dirty="0"/>
            </a:br>
            <a:r>
              <a:rPr lang="en-US" sz="2000" dirty="0"/>
              <a:t>Mark Fabbi, Joseph Provenza (G00779593)</a:t>
            </a:r>
          </a:p>
          <a:p>
            <a:r>
              <a:rPr lang="en-US" sz="2000" b="1" dirty="0">
                <a:hlinkClick r:id="rId7"/>
              </a:rPr>
              <a:t>2023 Talent Outlook for Midsize Enterprises</a:t>
            </a:r>
            <a:br>
              <a:rPr lang="en-US" sz="2000" dirty="0"/>
            </a:br>
            <a:r>
              <a:rPr lang="en-US" sz="2000" dirty="0"/>
              <a:t>CIO Research Team (G00785459)</a:t>
            </a:r>
          </a:p>
          <a:p>
            <a:r>
              <a:rPr lang="en-US" sz="2000" b="1" dirty="0">
                <a:hlinkClick r:id="rId8"/>
              </a:rPr>
              <a:t>Midsize Enterprise IT Organizational Design: 3 Structural Archetypes to Meet Discrete Enterprise Needs</a:t>
            </a:r>
            <a:br>
              <a:rPr lang="en-US" sz="2000" b="1" dirty="0"/>
            </a:br>
            <a:r>
              <a:rPr lang="en-US" sz="2000" dirty="0"/>
              <a:t>Tomas Nielsen, Monika Sinha, Joseph Provenza, Roger Caleya, Simon Mingay (G00758303)</a:t>
            </a:r>
            <a:endParaRPr lang="en-US" sz="2000" b="1" dirty="0"/>
          </a:p>
        </p:txBody>
      </p:sp>
      <p:sp>
        <p:nvSpPr>
          <p:cNvPr id="4" name="Text Box 91">
            <a:extLst>
              <a:ext uri="{FF2B5EF4-FFF2-40B4-BE49-F238E27FC236}">
                <a16:creationId xmlns:a16="http://schemas.microsoft.com/office/drawing/2014/main" id="{C41280EB-C1B4-4B0D-AD32-86E9AA4EA58E}"/>
              </a:ext>
            </a:extLst>
          </p:cNvPr>
          <p:cNvSpPr txBox="1">
            <a:spLocks noChangeAspect="1" noChangeArrowheads="1"/>
          </p:cNvSpPr>
          <p:nvPr/>
        </p:nvSpPr>
        <p:spPr bwMode="gray">
          <a:xfrm>
            <a:off x="457200" y="6073777"/>
            <a:ext cx="6229673" cy="150811"/>
          </a:xfrm>
          <a:prstGeom prst="rect">
            <a:avLst/>
          </a:prstGeom>
          <a:noFill/>
        </p:spPr>
        <p:txBody>
          <a:bodyPr wrap="square" lIns="0" tIns="0" rIns="0" bIns="27432" rtlCol="0" anchor="b" anchorCtr="0">
            <a:spAutoFit/>
          </a:bodyPr>
          <a:lstStyle>
            <a:defPPr>
              <a:defRPr lang="en-US"/>
            </a:defPPr>
            <a:lvl1pPr>
              <a:defRPr sz="800">
                <a:solidFill>
                  <a:schemeClr val="accent2">
                    <a:lumMod val="75000"/>
                  </a:schemeClr>
                </a:solidFill>
              </a:defRPr>
            </a:lvl1pPr>
          </a:lstStyle>
          <a:p>
            <a:pPr lvl="0"/>
            <a:r>
              <a:rPr lang="en-US" dirty="0">
                <a:solidFill>
                  <a:srgbClr val="6F7878"/>
                </a:solidFill>
              </a:rPr>
              <a:t>For information, please contact your Gartner representative.</a:t>
            </a:r>
          </a:p>
        </p:txBody>
      </p:sp>
    </p:spTree>
    <p:extLst>
      <p:ext uri="{BB962C8B-B14F-4D97-AF65-F5344CB8AC3E}">
        <p14:creationId xmlns:p14="http://schemas.microsoft.com/office/powerpoint/2010/main" val="6865517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2D87C-C076-322F-447D-1100E9DF73C6}"/>
              </a:ext>
            </a:extLst>
          </p:cNvPr>
          <p:cNvSpPr>
            <a:spLocks noGrp="1"/>
          </p:cNvSpPr>
          <p:nvPr>
            <p:ph type="title"/>
          </p:nvPr>
        </p:nvSpPr>
        <p:spPr/>
        <p:txBody>
          <a:bodyPr/>
          <a:lstStyle/>
          <a:p>
            <a:r>
              <a:rPr lang="en-US" dirty="0"/>
              <a:t>Evidence</a:t>
            </a:r>
          </a:p>
        </p:txBody>
      </p:sp>
      <p:sp>
        <p:nvSpPr>
          <p:cNvPr id="3" name="Content Placeholder 2">
            <a:extLst>
              <a:ext uri="{FF2B5EF4-FFF2-40B4-BE49-F238E27FC236}">
                <a16:creationId xmlns:a16="http://schemas.microsoft.com/office/drawing/2014/main" id="{8E14E68E-2CF4-70DD-38CD-ECB30F89FD06}"/>
              </a:ext>
            </a:extLst>
          </p:cNvPr>
          <p:cNvSpPr>
            <a:spLocks noGrp="1"/>
          </p:cNvSpPr>
          <p:nvPr>
            <p:ph idx="1"/>
          </p:nvPr>
        </p:nvSpPr>
        <p:spPr>
          <a:xfrm>
            <a:off x="457200" y="1185851"/>
            <a:ext cx="11274552" cy="5023880"/>
          </a:xfrm>
        </p:spPr>
        <p:txBody>
          <a:bodyPr/>
          <a:lstStyle/>
          <a:p>
            <a:pPr rtl="0">
              <a:spcBef>
                <a:spcPts val="0"/>
              </a:spcBef>
              <a:spcAft>
                <a:spcPts val="0"/>
              </a:spcAft>
            </a:pPr>
            <a:r>
              <a:rPr lang="en-US" sz="1100" b="1" i="0" u="none" strike="noStrike" dirty="0">
                <a:solidFill>
                  <a:srgbClr val="000000"/>
                </a:solidFill>
                <a:effectLst/>
              </a:rPr>
              <a:t>2022 Gartner Global Labor Market Survey: </a:t>
            </a:r>
            <a:r>
              <a:rPr lang="en-US" sz="1100" b="0" i="0" u="none" strike="noStrike" dirty="0">
                <a:solidFill>
                  <a:srgbClr val="000000"/>
                </a:solidFill>
                <a:effectLst/>
              </a:rPr>
              <a:t>The survey is based on responses from 72,000 employees globally, including 7,004 IT employees. The </a:t>
            </a:r>
            <a:r>
              <a:rPr lang="en-US" sz="1100" b="0" i="0" u="none" strike="noStrike" dirty="0" err="1">
                <a:solidFill>
                  <a:srgbClr val="000000"/>
                </a:solidFill>
                <a:effectLst/>
              </a:rPr>
              <a:t>4Q22</a:t>
            </a:r>
            <a:r>
              <a:rPr lang="en-US" sz="1100" b="0" i="0" u="none" strike="noStrike" dirty="0">
                <a:solidFill>
                  <a:srgbClr val="000000"/>
                </a:solidFill>
                <a:effectLst/>
              </a:rPr>
              <a:t> Global Labor Market Survey was based on 18,009 employees globally, including 1,611 IT employees. Responses were collected monthly across 40 different countries in 15 languages and were then aggregated to generate yearly and quarterly findings.</a:t>
            </a:r>
            <a:endParaRPr lang="en-US" sz="1100" b="0" dirty="0">
              <a:effectLst/>
            </a:endParaRPr>
          </a:p>
          <a:p>
            <a:pPr rtl="0">
              <a:spcBef>
                <a:spcPts val="0"/>
              </a:spcBef>
              <a:spcAft>
                <a:spcPts val="0"/>
              </a:spcAft>
            </a:pPr>
            <a:br>
              <a:rPr lang="en-US" sz="1100" b="0" dirty="0">
                <a:effectLst/>
              </a:rPr>
            </a:br>
            <a:r>
              <a:rPr lang="en-US" sz="1100" b="1" i="0" u="none" strike="noStrike" dirty="0">
                <a:solidFill>
                  <a:srgbClr val="000000"/>
                </a:solidFill>
                <a:effectLst/>
              </a:rPr>
              <a:t>2022 Gartner Midsize Enterprise Baseline Survey:</a:t>
            </a:r>
            <a:r>
              <a:rPr lang="en-US" sz="1100" b="0" i="0" u="none" strike="noStrike" dirty="0">
                <a:solidFill>
                  <a:srgbClr val="000000"/>
                </a:solidFill>
                <a:effectLst/>
              </a:rPr>
              <a:t> The survey</a:t>
            </a:r>
            <a:r>
              <a:rPr lang="en-US" sz="1100" b="1" i="0" u="none" strike="noStrike" dirty="0">
                <a:solidFill>
                  <a:srgbClr val="000000"/>
                </a:solidFill>
                <a:effectLst/>
              </a:rPr>
              <a:t> </a:t>
            </a:r>
            <a:r>
              <a:rPr lang="en-US" sz="1100" b="0" i="0" u="none" strike="noStrike" dirty="0">
                <a:solidFill>
                  <a:srgbClr val="000000"/>
                </a:solidFill>
                <a:effectLst/>
              </a:rPr>
              <a:t>was conducted to understand the most critical market differentiators in the midmarket and discover what midsize enterprises are doing differently when it comes to investing and deploying technology. The research was conducted online from April through June 2022 among 607 CIOs or the most senior IT leaders in a midsize organization (that is, in organizations with an annual revenue of $50 million to less than $1 billion) in North America, Europe and Asia/Pacific across industries. Disclaimer: The results of this survey do not represent global findings or the market as a whole, but reflect the sentiments of the respondents and companies surveyed. </a:t>
            </a:r>
            <a:endParaRPr lang="en-US" sz="1100" b="0" dirty="0">
              <a:effectLst/>
            </a:endParaRPr>
          </a:p>
          <a:p>
            <a:pPr rtl="0">
              <a:spcBef>
                <a:spcPts val="0"/>
              </a:spcBef>
              <a:spcAft>
                <a:spcPts val="0"/>
              </a:spcAft>
            </a:pPr>
            <a:br>
              <a:rPr lang="en-US" sz="1100" b="0" dirty="0">
                <a:effectLst/>
              </a:rPr>
            </a:br>
            <a:r>
              <a:rPr lang="en-US" sz="1100" b="1" i="0" u="none" strike="noStrike" dirty="0">
                <a:solidFill>
                  <a:srgbClr val="000000"/>
                </a:solidFill>
                <a:effectLst/>
              </a:rPr>
              <a:t>2023 Gartner Board of Directors Survey on Business Strategy in an Uncertain World: </a:t>
            </a:r>
            <a:r>
              <a:rPr lang="en-US" sz="1100" b="0" i="0" u="none" strike="noStrike" dirty="0">
                <a:solidFill>
                  <a:srgbClr val="000000"/>
                </a:solidFill>
                <a:effectLst/>
              </a:rPr>
              <a:t>This survey was conducted to understand the new approaches adopted by nonexecutive boards of directors (</a:t>
            </a:r>
            <a:r>
              <a:rPr lang="en-US" sz="1100" b="0" i="0" u="none" strike="noStrike" dirty="0" err="1">
                <a:solidFill>
                  <a:srgbClr val="000000"/>
                </a:solidFill>
                <a:effectLst/>
              </a:rPr>
              <a:t>BoDs</a:t>
            </a:r>
            <a:r>
              <a:rPr lang="en-US" sz="1100" b="0" i="0" u="none" strike="noStrike" dirty="0">
                <a:solidFill>
                  <a:srgbClr val="000000"/>
                </a:solidFill>
                <a:effectLst/>
              </a:rPr>
              <a:t>) to drive growth in a rapidly changing business environment. The survey also sought to understand the </a:t>
            </a:r>
            <a:r>
              <a:rPr lang="en-US" sz="1100" b="0" i="0" u="none" strike="noStrike" dirty="0" err="1">
                <a:solidFill>
                  <a:srgbClr val="000000"/>
                </a:solidFill>
                <a:effectLst/>
              </a:rPr>
              <a:t>BoDs’</a:t>
            </a:r>
            <a:r>
              <a:rPr lang="en-US" sz="1100" b="0" i="0" u="none" strike="noStrike" dirty="0">
                <a:solidFill>
                  <a:srgbClr val="000000"/>
                </a:solidFill>
                <a:effectLst/>
              </a:rPr>
              <a:t> focus on investments in digital acceleration; sustainability; and diversity, equity and inclusion. The survey was conducted online from June through July 2022 among 281 respondents from North America, Latin America, Europe and Asia/Pacific. Respondents came from all industries, except governments, nonprofits, charities and NGOs, and from organizations with $50 million or more in annual revenue. Respondents were required to be a board director or a member of a corporate board of directors. If respondents served on multiple boards, they answered for the largest company, defined by its annual revenue, for which they are a board member. Disclaimer: The results of this survey do not represent global findings or the market as a whole, but reflect the sentiments of the respondents and companies surveyed. </a:t>
            </a:r>
            <a:endParaRPr lang="en-US" sz="1100" b="0" dirty="0">
              <a:effectLst/>
            </a:endParaRPr>
          </a:p>
          <a:p>
            <a:pPr rtl="0">
              <a:spcBef>
                <a:spcPts val="0"/>
              </a:spcBef>
              <a:spcAft>
                <a:spcPts val="0"/>
              </a:spcAft>
            </a:pPr>
            <a:br>
              <a:rPr lang="en-US" sz="1100" b="0" dirty="0">
                <a:effectLst/>
              </a:rPr>
            </a:br>
            <a:r>
              <a:rPr lang="en-US" sz="1100" b="1" i="0" u="none" strike="noStrike" dirty="0">
                <a:solidFill>
                  <a:srgbClr val="000000"/>
                </a:solidFill>
                <a:effectLst/>
              </a:rPr>
              <a:t>2023 Gartner CIO and Technology Executive Survey:</a:t>
            </a:r>
            <a:r>
              <a:rPr lang="en-US" sz="1100" b="0" i="0" u="none" strike="noStrike" dirty="0">
                <a:solidFill>
                  <a:srgbClr val="000000"/>
                </a:solidFill>
                <a:effectLst/>
              </a:rPr>
              <a:t> This survey was conducted to help CIOs and technology executives overcome digital execution gaps by empowering and enabling an ecosystem of internal and external digital technology producers. It was conducted online from 2 May through 25 June 2022 among Gartner Executive Programs members and other CIOs. Qualified respondents are each the most senior IT leader (e.g., CIO) for their overall organization or some part of their organization (for example, a business unit or region). The total sample is 2,203 respondents, with representation from all geographies and industry sectors (public and private), including 358 from midsize enterprises. Disclaimer: Results of this survey do not represent global findings or the market as a whole, but reflect the sentiments of the respondents and companies surveyed. </a:t>
            </a:r>
            <a:endParaRPr lang="en-US" sz="1100" b="0" dirty="0">
              <a:effectLst/>
            </a:endParaRPr>
          </a:p>
          <a:p>
            <a:pPr rtl="0">
              <a:spcBef>
                <a:spcPts val="0"/>
              </a:spcBef>
              <a:spcAft>
                <a:spcPts val="0"/>
              </a:spcAft>
            </a:pPr>
            <a:br>
              <a:rPr lang="en-US" sz="1100" b="0" dirty="0">
                <a:effectLst/>
              </a:rPr>
            </a:br>
            <a:r>
              <a:rPr lang="en-US" sz="1100" b="1" i="0" u="none" strike="noStrike" dirty="0">
                <a:solidFill>
                  <a:srgbClr val="000000"/>
                </a:solidFill>
                <a:effectLst/>
              </a:rPr>
              <a:t>2023 Gartner CEO and Senior Business Executive Survey:</a:t>
            </a:r>
            <a:r>
              <a:rPr lang="en-US" sz="1100" b="0" i="0" u="none" strike="noStrike" dirty="0">
                <a:solidFill>
                  <a:srgbClr val="000000"/>
                </a:solidFill>
                <a:effectLst/>
              </a:rPr>
              <a:t> This survey was conducted to examine CEO and senior business executive views on current business issues, as well as some areas of technology agenda impact. The survey was conducted from July 2022 through December 2022, with questions about the period from 2022 through 2024. One-quarter of the survey sample was collected in July and August 2022, and three-quarters was collected from October through December 2022. In total, 422 actively employed CEOs and other senior executive business leaders qualified and participated. The research was collected via 382 online surveys and 40 telephone interviews. The sample mix by role was CEOs (n = 277); CFOs (n = 95); COOs or other C-level executives (n = 19); and chairs, presidents or board directors (n = 31). The sample mix by location was North America (n = 169), Europe (n = 105), Asia/Pacific (n = 102), Latin America (n = 29), the Middle East (n = 11) and South Africa (n = 6). The sample mix by size was $10 million to less than $50 million (n = 3), $50 million to less than $250 million (n = 51), $250 million to less than $1 billion (n = 102), $1 billion to less than $10 billion (n = 190) and $10 billion or more (n = 76). Disclaimer: Results of this survey do not represent global findings or the market as a whole, but reflect the sentiments of the respondents and companies surveyed.</a:t>
            </a:r>
            <a:br>
              <a:rPr lang="en-US" sz="1100" dirty="0"/>
            </a:br>
            <a:endParaRPr lang="en-US" sz="1100" dirty="0"/>
          </a:p>
        </p:txBody>
      </p:sp>
    </p:spTree>
    <p:extLst>
      <p:ext uri="{BB962C8B-B14F-4D97-AF65-F5344CB8AC3E}">
        <p14:creationId xmlns:p14="http://schemas.microsoft.com/office/powerpoint/2010/main" val="5051215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E784D7-2844-4666-A6B3-8A52EC25F4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0" imgH="333" progId="TCLayout.ActiveDocument.1">
                  <p:embed/>
                </p:oleObj>
              </mc:Choice>
              <mc:Fallback>
                <p:oleObj name="think-cell Slide" r:id="rId6" imgW="340" imgH="333" progId="TCLayout.ActiveDocument.1">
                  <p:embed/>
                  <p:pic>
                    <p:nvPicPr>
                      <p:cNvPr id="4" name="Object 3" hidden="1">
                        <a:extLst>
                          <a:ext uri="{FF2B5EF4-FFF2-40B4-BE49-F238E27FC236}">
                            <a16:creationId xmlns:a16="http://schemas.microsoft.com/office/drawing/2014/main" id="{69E784D7-2844-4666-A6B3-8A52EC25F4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C266CB-DF44-459F-89AD-2555A15DE15C}"/>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aphicFrame>
        <p:nvGraphicFramePr>
          <p:cNvPr id="7" name="Chart 6">
            <a:extLst>
              <a:ext uri="{FF2B5EF4-FFF2-40B4-BE49-F238E27FC236}">
                <a16:creationId xmlns:a16="http://schemas.microsoft.com/office/drawing/2014/main" id="{F68F12EE-FE2A-224F-944E-D6EAB994F1FE}"/>
              </a:ext>
            </a:extLst>
          </p:cNvPr>
          <p:cNvGraphicFramePr/>
          <p:nvPr>
            <p:extLst>
              <p:ext uri="{D42A27DB-BD31-4B8C-83A1-F6EECF244321}">
                <p14:modId xmlns:p14="http://schemas.microsoft.com/office/powerpoint/2010/main" val="1899021323"/>
              </p:ext>
            </p:extLst>
          </p:nvPr>
        </p:nvGraphicFramePr>
        <p:xfrm>
          <a:off x="468489" y="2309043"/>
          <a:ext cx="11274425" cy="2788434"/>
        </p:xfrm>
        <a:graphic>
          <a:graphicData uri="http://schemas.openxmlformats.org/drawingml/2006/chart">
            <c:chart xmlns:c="http://schemas.openxmlformats.org/drawingml/2006/chart" xmlns:r="http://schemas.openxmlformats.org/officeDocument/2006/relationships" r:id="rId8"/>
          </a:graphicData>
        </a:graphic>
      </p:graphicFrame>
      <p:sp>
        <p:nvSpPr>
          <p:cNvPr id="42" name="TextBox 41">
            <a:extLst>
              <a:ext uri="{FF2B5EF4-FFF2-40B4-BE49-F238E27FC236}">
                <a16:creationId xmlns:a16="http://schemas.microsoft.com/office/drawing/2014/main" id="{C7AA4D17-E9DD-4121-BD94-C9A001500D71}"/>
              </a:ext>
            </a:extLst>
          </p:cNvPr>
          <p:cNvSpPr txBox="1"/>
          <p:nvPr/>
        </p:nvSpPr>
        <p:spPr>
          <a:xfrm>
            <a:off x="457199" y="5532562"/>
            <a:ext cx="9444789" cy="769441"/>
          </a:xfrm>
          <a:prstGeom prst="rect">
            <a:avLst/>
          </a:prstGeom>
          <a:noFill/>
        </p:spPr>
        <p:txBody>
          <a:bodyPr wrap="square" lIns="0" tIns="91440" rIns="91440" bIns="9144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n = 156, All MSE Responde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solidFill>
                <a:effectLst/>
                <a:uLnTx/>
                <a:uFillTx/>
                <a:latin typeface="Arial"/>
                <a:ea typeface="+mn-ea"/>
                <a:cs typeface="Arial"/>
              </a:rPr>
              <a:t>Q: To start, please tell us about your organization’s top 5 strategic business priorities for the next 2 years (2023/2024).</a:t>
            </a:r>
            <a:endParaRPr kumimoji="0" lang="en-US" sz="12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Arial" panose="020B0604020202020204"/>
                <a:ea typeface="+mn-ea"/>
                <a:cs typeface="Arial" panose="020B0604020202020204" pitchFamily="34" charset="0"/>
              </a:rPr>
              <a:t>Source: 2023 Gartner CEO and Senior Business Executive Survey</a:t>
            </a:r>
          </a:p>
        </p:txBody>
      </p:sp>
      <p:sp>
        <p:nvSpPr>
          <p:cNvPr id="18" name="Title 17">
            <a:extLst>
              <a:ext uri="{FF2B5EF4-FFF2-40B4-BE49-F238E27FC236}">
                <a16:creationId xmlns:a16="http://schemas.microsoft.com/office/drawing/2014/main" id="{709950CD-97FB-BCF1-1C46-408848C6F240}"/>
              </a:ext>
            </a:extLst>
          </p:cNvPr>
          <p:cNvSpPr>
            <a:spLocks noGrp="1"/>
          </p:cNvSpPr>
          <p:nvPr>
            <p:ph type="title"/>
          </p:nvPr>
        </p:nvSpPr>
        <p:spPr>
          <a:xfrm>
            <a:off x="457200" y="361950"/>
            <a:ext cx="11417968" cy="805469"/>
          </a:xfrm>
        </p:spPr>
        <p:txBody>
          <a:bodyPr/>
          <a:lstStyle/>
          <a:p>
            <a:r>
              <a:rPr lang="en-US" dirty="0"/>
              <a:t>Growth and Corporate Initiatives Are Top Priorities for Midsize Enterprise CEOs</a:t>
            </a:r>
          </a:p>
        </p:txBody>
      </p:sp>
      <p:sp>
        <p:nvSpPr>
          <p:cNvPr id="19" name="Text Placeholder 18">
            <a:extLst>
              <a:ext uri="{FF2B5EF4-FFF2-40B4-BE49-F238E27FC236}">
                <a16:creationId xmlns:a16="http://schemas.microsoft.com/office/drawing/2014/main" id="{BE8C8C60-8C5C-EE33-E6D5-6057D8BBD05E}"/>
              </a:ext>
            </a:extLst>
          </p:cNvPr>
          <p:cNvSpPr>
            <a:spLocks noGrp="1"/>
          </p:cNvSpPr>
          <p:nvPr>
            <p:ph type="body" sz="quarter" idx="10"/>
          </p:nvPr>
        </p:nvSpPr>
        <p:spPr>
          <a:xfrm>
            <a:off x="468489" y="1220239"/>
            <a:ext cx="11274425" cy="247580"/>
          </a:xfrm>
        </p:spPr>
        <p:txBody>
          <a:bodyPr/>
          <a:lstStyle/>
          <a:p>
            <a:r>
              <a:rPr lang="en-US" dirty="0"/>
              <a:t>CEO Business Priorities, 2023 and 2024 — Top 6</a:t>
            </a:r>
          </a:p>
        </p:txBody>
      </p:sp>
      <p:sp>
        <p:nvSpPr>
          <p:cNvPr id="20" name="Text Placeholder 19">
            <a:extLst>
              <a:ext uri="{FF2B5EF4-FFF2-40B4-BE49-F238E27FC236}">
                <a16:creationId xmlns:a16="http://schemas.microsoft.com/office/drawing/2014/main" id="{39A719FB-3186-DC30-D297-3DC8B20A5FE7}"/>
              </a:ext>
            </a:extLst>
          </p:cNvPr>
          <p:cNvSpPr>
            <a:spLocks noGrp="1"/>
          </p:cNvSpPr>
          <p:nvPr>
            <p:ph type="body" sz="quarter" idx="11"/>
          </p:nvPr>
        </p:nvSpPr>
        <p:spPr>
          <a:xfrm>
            <a:off x="468489" y="1501414"/>
            <a:ext cx="11274425" cy="247580"/>
          </a:xfrm>
        </p:spPr>
        <p:txBody>
          <a:bodyPr/>
          <a:lstStyle/>
          <a:p>
            <a:r>
              <a:rPr lang="en-US" dirty="0"/>
              <a:t>Summary Top Three Mentions, Coded Responses</a:t>
            </a:r>
          </a:p>
        </p:txBody>
      </p:sp>
      <p:sp>
        <p:nvSpPr>
          <p:cNvPr id="17" name="TextBox 16">
            <a:extLst>
              <a:ext uri="{FF2B5EF4-FFF2-40B4-BE49-F238E27FC236}">
                <a16:creationId xmlns:a16="http://schemas.microsoft.com/office/drawing/2014/main" id="{ACD5C313-A690-CD70-01F3-995DDECB071D}"/>
              </a:ext>
            </a:extLst>
          </p:cNvPr>
          <p:cNvSpPr txBox="1"/>
          <p:nvPr/>
        </p:nvSpPr>
        <p:spPr>
          <a:xfrm>
            <a:off x="4975435" y="5136324"/>
            <a:ext cx="992662" cy="181354"/>
          </a:xfrm>
          <a:prstGeom prst="rect">
            <a:avLst/>
          </a:prstGeom>
        </p:spPr>
        <p:txBody>
          <a:bodyPr lIns="0" tIns="0" rIns="0" bIns="0" anchor="t"/>
          <a:lstStyle/>
          <a:p>
            <a:pPr algn="ctr">
              <a:buClr>
                <a:srgbClr val="000000"/>
              </a:buClr>
              <a:buSzPts val="1100"/>
            </a:pPr>
            <a:r>
              <a:rPr lang="en-US" sz="1600" b="1" dirty="0">
                <a:solidFill>
                  <a:srgbClr val="DE0A01"/>
                </a:solidFill>
                <a:latin typeface="Wingdings 3" pitchFamily="2" charset="2"/>
              </a:rPr>
              <a:t>q</a:t>
            </a:r>
            <a:r>
              <a:rPr lang="en-US" sz="1600" b="1" dirty="0">
                <a:solidFill>
                  <a:srgbClr val="000000"/>
                </a:solidFill>
                <a:latin typeface="Arial"/>
              </a:rPr>
              <a:t> </a:t>
            </a:r>
            <a:r>
              <a:rPr lang="en-US" sz="1600" b="1" dirty="0">
                <a:solidFill>
                  <a:srgbClr val="000000"/>
                </a:solidFill>
              </a:rPr>
              <a:t>-16% </a:t>
            </a:r>
          </a:p>
        </p:txBody>
      </p:sp>
      <p:sp>
        <p:nvSpPr>
          <p:cNvPr id="21" name="TextBox 20">
            <a:extLst>
              <a:ext uri="{FF2B5EF4-FFF2-40B4-BE49-F238E27FC236}">
                <a16:creationId xmlns:a16="http://schemas.microsoft.com/office/drawing/2014/main" id="{386C6E3C-58D4-879C-EF67-BFFCBA1EFDBF}"/>
              </a:ext>
            </a:extLst>
          </p:cNvPr>
          <p:cNvSpPr txBox="1"/>
          <p:nvPr/>
        </p:nvSpPr>
        <p:spPr>
          <a:xfrm>
            <a:off x="3230637" y="5136324"/>
            <a:ext cx="992662" cy="181354"/>
          </a:xfrm>
          <a:prstGeom prst="rect">
            <a:avLst/>
          </a:prstGeom>
        </p:spPr>
        <p:txBody>
          <a:bodyPr lIns="0" tIns="0" rIns="0" bIns="0" anchor="t"/>
          <a:lstStyle/>
          <a:p>
            <a:pPr algn="ctr">
              <a:buClr>
                <a:srgbClr val="000000"/>
              </a:buClr>
              <a:buSzPts val="1100"/>
            </a:pPr>
            <a:r>
              <a:rPr lang="en-US" sz="1600" b="1" dirty="0">
                <a:solidFill>
                  <a:srgbClr val="00A76D"/>
                </a:solidFill>
                <a:latin typeface="Wingdings 3" pitchFamily="2" charset="2"/>
              </a:rPr>
              <a:t>p</a:t>
            </a:r>
            <a:r>
              <a:rPr lang="en-US" sz="1600" b="1" dirty="0">
                <a:solidFill>
                  <a:srgbClr val="000000"/>
                </a:solidFill>
                <a:latin typeface="Arial"/>
              </a:rPr>
              <a:t> </a:t>
            </a:r>
            <a:r>
              <a:rPr lang="en-US" sz="1600" b="1" dirty="0">
                <a:solidFill>
                  <a:srgbClr val="000000"/>
                </a:solidFill>
              </a:rPr>
              <a:t>+57% </a:t>
            </a:r>
          </a:p>
        </p:txBody>
      </p:sp>
      <p:sp>
        <p:nvSpPr>
          <p:cNvPr id="22" name="TextBox 21">
            <a:extLst>
              <a:ext uri="{FF2B5EF4-FFF2-40B4-BE49-F238E27FC236}">
                <a16:creationId xmlns:a16="http://schemas.microsoft.com/office/drawing/2014/main" id="{76C444C8-A39F-16EC-DEC9-FF03C3FBB71E}"/>
              </a:ext>
            </a:extLst>
          </p:cNvPr>
          <p:cNvSpPr txBox="1"/>
          <p:nvPr/>
        </p:nvSpPr>
        <p:spPr>
          <a:xfrm>
            <a:off x="6720233" y="5136324"/>
            <a:ext cx="992662" cy="181354"/>
          </a:xfrm>
          <a:prstGeom prst="rect">
            <a:avLst/>
          </a:prstGeom>
        </p:spPr>
        <p:txBody>
          <a:bodyPr lIns="0" tIns="0" rIns="0" bIns="0" anchor="t"/>
          <a:lstStyle/>
          <a:p>
            <a:pPr algn="ctr">
              <a:buClr>
                <a:srgbClr val="000000"/>
              </a:buClr>
              <a:buSzPts val="1100"/>
            </a:pPr>
            <a:r>
              <a:rPr lang="en-US" sz="1600" b="1" dirty="0">
                <a:solidFill>
                  <a:srgbClr val="DE0A01"/>
                </a:solidFill>
                <a:latin typeface="Wingdings 3" pitchFamily="2" charset="2"/>
              </a:rPr>
              <a:t>q</a:t>
            </a:r>
            <a:r>
              <a:rPr lang="en-US" sz="1600" b="1" dirty="0">
                <a:solidFill>
                  <a:srgbClr val="000000"/>
                </a:solidFill>
                <a:latin typeface="Arial"/>
              </a:rPr>
              <a:t> </a:t>
            </a:r>
            <a:r>
              <a:rPr lang="en-US" sz="1600" b="1" dirty="0">
                <a:solidFill>
                  <a:srgbClr val="000000"/>
                </a:solidFill>
              </a:rPr>
              <a:t>-16% </a:t>
            </a:r>
          </a:p>
        </p:txBody>
      </p:sp>
      <p:sp>
        <p:nvSpPr>
          <p:cNvPr id="24" name="TextBox 23">
            <a:extLst>
              <a:ext uri="{FF2B5EF4-FFF2-40B4-BE49-F238E27FC236}">
                <a16:creationId xmlns:a16="http://schemas.microsoft.com/office/drawing/2014/main" id="{F52773F4-5121-A8B7-FF47-91BBBC3D362C}"/>
              </a:ext>
            </a:extLst>
          </p:cNvPr>
          <p:cNvSpPr txBox="1"/>
          <p:nvPr/>
        </p:nvSpPr>
        <p:spPr>
          <a:xfrm>
            <a:off x="1485839" y="5136324"/>
            <a:ext cx="992662" cy="181354"/>
          </a:xfrm>
          <a:prstGeom prst="rect">
            <a:avLst/>
          </a:prstGeom>
        </p:spPr>
        <p:txBody>
          <a:bodyPr lIns="0" tIns="0" rIns="0" bIns="0" anchor="t"/>
          <a:lstStyle/>
          <a:p>
            <a:pPr algn="ctr">
              <a:buClr>
                <a:srgbClr val="000000"/>
              </a:buClr>
              <a:buSzPts val="1100"/>
            </a:pPr>
            <a:r>
              <a:rPr lang="en-US" sz="1600" b="1" dirty="0">
                <a:solidFill>
                  <a:srgbClr val="00A76D"/>
                </a:solidFill>
                <a:latin typeface="Wingdings 3" pitchFamily="2" charset="2"/>
              </a:rPr>
              <a:t>p</a:t>
            </a:r>
            <a:r>
              <a:rPr lang="en-US" sz="1600" b="1" dirty="0">
                <a:solidFill>
                  <a:srgbClr val="000000"/>
                </a:solidFill>
                <a:latin typeface="Arial"/>
              </a:rPr>
              <a:t> </a:t>
            </a:r>
            <a:r>
              <a:rPr lang="en-US" sz="1600" b="1" dirty="0">
                <a:solidFill>
                  <a:srgbClr val="000000"/>
                </a:solidFill>
              </a:rPr>
              <a:t>+23% </a:t>
            </a:r>
          </a:p>
        </p:txBody>
      </p:sp>
      <p:sp>
        <p:nvSpPr>
          <p:cNvPr id="30" name="TextBox 29">
            <a:extLst>
              <a:ext uri="{FF2B5EF4-FFF2-40B4-BE49-F238E27FC236}">
                <a16:creationId xmlns:a16="http://schemas.microsoft.com/office/drawing/2014/main" id="{03596FC4-C158-A631-F1F5-3EBF10F70816}"/>
              </a:ext>
            </a:extLst>
          </p:cNvPr>
          <p:cNvSpPr txBox="1"/>
          <p:nvPr/>
        </p:nvSpPr>
        <p:spPr>
          <a:xfrm>
            <a:off x="8465031" y="5136324"/>
            <a:ext cx="992662" cy="181354"/>
          </a:xfrm>
          <a:prstGeom prst="rect">
            <a:avLst/>
          </a:prstGeom>
        </p:spPr>
        <p:txBody>
          <a:bodyPr lIns="0" tIns="0" rIns="0" bIns="0" anchor="t"/>
          <a:lstStyle/>
          <a:p>
            <a:pPr algn="ctr">
              <a:buClr>
                <a:srgbClr val="000000"/>
              </a:buClr>
              <a:buSzPts val="1100"/>
            </a:pPr>
            <a:r>
              <a:rPr lang="en-US" sz="1600" b="1" dirty="0">
                <a:solidFill>
                  <a:srgbClr val="00A76D"/>
                </a:solidFill>
                <a:latin typeface="Wingdings 3" pitchFamily="2" charset="2"/>
              </a:rPr>
              <a:t>p</a:t>
            </a:r>
            <a:r>
              <a:rPr lang="en-US" sz="1600" b="1" dirty="0">
                <a:solidFill>
                  <a:srgbClr val="000000"/>
                </a:solidFill>
                <a:latin typeface="Arial"/>
              </a:rPr>
              <a:t> </a:t>
            </a:r>
            <a:r>
              <a:rPr lang="en-US" sz="1600" b="1" dirty="0">
                <a:solidFill>
                  <a:srgbClr val="000000"/>
                </a:solidFill>
              </a:rPr>
              <a:t>+19% </a:t>
            </a:r>
          </a:p>
        </p:txBody>
      </p:sp>
      <p:sp>
        <p:nvSpPr>
          <p:cNvPr id="31" name="TextBox 30">
            <a:extLst>
              <a:ext uri="{FF2B5EF4-FFF2-40B4-BE49-F238E27FC236}">
                <a16:creationId xmlns:a16="http://schemas.microsoft.com/office/drawing/2014/main" id="{4633E8C4-3419-16F8-E5D2-EDF018DA6F17}"/>
              </a:ext>
            </a:extLst>
          </p:cNvPr>
          <p:cNvSpPr txBox="1"/>
          <p:nvPr/>
        </p:nvSpPr>
        <p:spPr>
          <a:xfrm>
            <a:off x="10209830" y="5136324"/>
            <a:ext cx="992662" cy="181354"/>
          </a:xfrm>
          <a:prstGeom prst="rect">
            <a:avLst/>
          </a:prstGeom>
        </p:spPr>
        <p:txBody>
          <a:bodyPr lIns="0" tIns="0" rIns="0" bIns="0" anchor="t"/>
          <a:lstStyle/>
          <a:p>
            <a:pPr algn="ctr">
              <a:buClr>
                <a:srgbClr val="000000"/>
              </a:buClr>
              <a:buSzPts val="1100"/>
            </a:pPr>
            <a:r>
              <a:rPr lang="en-US" sz="1600" b="1" dirty="0">
                <a:solidFill>
                  <a:srgbClr val="00A76D"/>
                </a:solidFill>
                <a:latin typeface="Wingdings 3" pitchFamily="2" charset="2"/>
              </a:rPr>
              <a:t>p</a:t>
            </a:r>
            <a:r>
              <a:rPr lang="en-US" sz="1600" b="1" dirty="0">
                <a:solidFill>
                  <a:srgbClr val="000000"/>
                </a:solidFill>
                <a:latin typeface="Arial"/>
              </a:rPr>
              <a:t> </a:t>
            </a:r>
            <a:r>
              <a:rPr lang="en-US" sz="1600" b="1" dirty="0">
                <a:solidFill>
                  <a:srgbClr val="000000"/>
                </a:solidFill>
              </a:rPr>
              <a:t>+23% </a:t>
            </a:r>
          </a:p>
        </p:txBody>
      </p:sp>
      <p:sp>
        <p:nvSpPr>
          <p:cNvPr id="32" name="TextBox 31">
            <a:extLst>
              <a:ext uri="{FF2B5EF4-FFF2-40B4-BE49-F238E27FC236}">
                <a16:creationId xmlns:a16="http://schemas.microsoft.com/office/drawing/2014/main" id="{27456C08-FA98-770F-F7DA-5C35B87A9659}"/>
              </a:ext>
            </a:extLst>
          </p:cNvPr>
          <p:cNvSpPr txBox="1"/>
          <p:nvPr/>
        </p:nvSpPr>
        <p:spPr>
          <a:xfrm>
            <a:off x="1053138" y="1947955"/>
            <a:ext cx="1207822" cy="176982"/>
          </a:xfrm>
          <a:prstGeom prst="rect">
            <a:avLst/>
          </a:prstGeom>
        </p:spPr>
        <p:txBody>
          <a:bodyPr lIns="0" tIns="0" rIns="0" bIns="0" anchor="t"/>
          <a:lstStyle/>
          <a:p>
            <a:pPr>
              <a:buClr>
                <a:srgbClr val="000000"/>
              </a:buClr>
              <a:buSzPts val="1100"/>
            </a:pPr>
            <a:r>
              <a:rPr lang="en-US" sz="1400" b="1" dirty="0">
                <a:solidFill>
                  <a:srgbClr val="DE0A01"/>
                </a:solidFill>
                <a:latin typeface="Wingdings 3" pitchFamily="2" charset="2"/>
              </a:rPr>
              <a:t>q</a:t>
            </a:r>
            <a:r>
              <a:rPr lang="en-US" sz="1400" b="1" dirty="0">
                <a:solidFill>
                  <a:srgbClr val="000000"/>
                </a:solidFill>
                <a:latin typeface="Arial"/>
              </a:rPr>
              <a:t> </a:t>
            </a:r>
            <a:r>
              <a:rPr lang="en-US" sz="1400" dirty="0">
                <a:solidFill>
                  <a:srgbClr val="000000"/>
                </a:solidFill>
              </a:rPr>
              <a:t>Decrease</a:t>
            </a:r>
          </a:p>
        </p:txBody>
      </p:sp>
      <p:sp>
        <p:nvSpPr>
          <p:cNvPr id="34" name="TextBox 33">
            <a:extLst>
              <a:ext uri="{FF2B5EF4-FFF2-40B4-BE49-F238E27FC236}">
                <a16:creationId xmlns:a16="http://schemas.microsoft.com/office/drawing/2014/main" id="{CEFD5372-B92B-07D6-2452-0E2F573C79B7}"/>
              </a:ext>
            </a:extLst>
          </p:cNvPr>
          <p:cNvSpPr txBox="1"/>
          <p:nvPr/>
        </p:nvSpPr>
        <p:spPr>
          <a:xfrm>
            <a:off x="2272992" y="1947955"/>
            <a:ext cx="1207822" cy="176982"/>
          </a:xfrm>
          <a:prstGeom prst="rect">
            <a:avLst/>
          </a:prstGeom>
        </p:spPr>
        <p:txBody>
          <a:bodyPr lIns="0" tIns="0" rIns="0" bIns="0" anchor="t"/>
          <a:lstStyle/>
          <a:p>
            <a:pPr>
              <a:buClr>
                <a:srgbClr val="000000"/>
              </a:buClr>
              <a:buSzPts val="1100"/>
            </a:pPr>
            <a:r>
              <a:rPr lang="en-US" sz="1400" b="1" dirty="0">
                <a:solidFill>
                  <a:srgbClr val="00A76D"/>
                </a:solidFill>
                <a:latin typeface="Wingdings 3" pitchFamily="2" charset="2"/>
              </a:rPr>
              <a:t>p</a:t>
            </a:r>
            <a:r>
              <a:rPr lang="en-US" sz="1400" b="1" dirty="0">
                <a:solidFill>
                  <a:srgbClr val="000000"/>
                </a:solidFill>
                <a:latin typeface="Arial"/>
              </a:rPr>
              <a:t> </a:t>
            </a:r>
            <a:r>
              <a:rPr lang="en-US" sz="1400" dirty="0">
                <a:solidFill>
                  <a:srgbClr val="000000"/>
                </a:solidFill>
              </a:rPr>
              <a:t>Increase</a:t>
            </a:r>
          </a:p>
        </p:txBody>
      </p:sp>
    </p:spTree>
    <p:custDataLst>
      <p:tags r:id="rId1"/>
    </p:custDataLst>
    <p:extLst>
      <p:ext uri="{BB962C8B-B14F-4D97-AF65-F5344CB8AC3E}">
        <p14:creationId xmlns:p14="http://schemas.microsoft.com/office/powerpoint/2010/main" val="8216351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ED281E3-1FB3-4645-B93D-98068B039F20}"/>
              </a:ext>
            </a:extLst>
          </p:cNvPr>
          <p:cNvSpPr/>
          <p:nvPr/>
        </p:nvSpPr>
        <p:spPr>
          <a:xfrm>
            <a:off x="320040" y="1422709"/>
            <a:ext cx="11521440" cy="50292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 name="Title 2">
            <a:extLst>
              <a:ext uri="{FF2B5EF4-FFF2-40B4-BE49-F238E27FC236}">
                <a16:creationId xmlns:a16="http://schemas.microsoft.com/office/drawing/2014/main" id="{14392A92-09FA-4DDB-B46F-2E85AD7AD341}"/>
              </a:ext>
            </a:extLst>
          </p:cNvPr>
          <p:cNvSpPr>
            <a:spLocks noGrp="1"/>
          </p:cNvSpPr>
          <p:nvPr>
            <p:ph type="title"/>
          </p:nvPr>
        </p:nvSpPr>
        <p:spPr/>
        <p:txBody>
          <a:bodyPr/>
          <a:lstStyle/>
          <a:p>
            <a:r>
              <a:rPr lang="en-US" b="1" dirty="0">
                <a:solidFill>
                  <a:srgbClr val="002856"/>
                </a:solidFill>
              </a:rPr>
              <a:t>Key Issues</a:t>
            </a:r>
            <a:endParaRPr lang="en-US" dirty="0">
              <a:solidFill>
                <a:srgbClr val="002856"/>
              </a:solidFill>
            </a:endParaRPr>
          </a:p>
        </p:txBody>
      </p:sp>
      <p:sp>
        <p:nvSpPr>
          <p:cNvPr id="4" name="Content Placeholder 3">
            <a:extLst>
              <a:ext uri="{FF2B5EF4-FFF2-40B4-BE49-F238E27FC236}">
                <a16:creationId xmlns:a16="http://schemas.microsoft.com/office/drawing/2014/main" id="{FF80A4E5-7031-4093-AF50-DCEEADE7AF03}"/>
              </a:ext>
            </a:extLst>
          </p:cNvPr>
          <p:cNvSpPr>
            <a:spLocks noGrp="1"/>
          </p:cNvSpPr>
          <p:nvPr>
            <p:ph sz="quarter" idx="10"/>
          </p:nvPr>
        </p:nvSpPr>
        <p:spPr/>
        <p:txBody>
          <a:bodyPr/>
          <a:lstStyle/>
          <a:p>
            <a:pPr lvl="0"/>
            <a:r>
              <a:rPr lang="en-US" dirty="0">
                <a:solidFill>
                  <a:srgbClr val="FFFFFF"/>
                </a:solidFill>
              </a:rPr>
              <a:t>What are the major trends affecting CIOs in midsize enterprises?</a:t>
            </a:r>
          </a:p>
          <a:p>
            <a:pPr lvl="0"/>
            <a:r>
              <a:rPr lang="en-US" dirty="0">
                <a:solidFill>
                  <a:srgbClr val="6F7878"/>
                </a:solidFill>
              </a:rPr>
              <a:t>What are the top challenges for CIOs in midsize enterprises?</a:t>
            </a:r>
          </a:p>
          <a:p>
            <a:pPr lvl="0"/>
            <a:r>
              <a:rPr lang="en-US" dirty="0">
                <a:solidFill>
                  <a:srgbClr val="6F7878"/>
                </a:solidFill>
              </a:rPr>
              <a:t>What actions should a midsize enterprise CIO take to address these challenges?</a:t>
            </a:r>
          </a:p>
        </p:txBody>
      </p:sp>
    </p:spTree>
    <p:extLst>
      <p:ext uri="{BB962C8B-B14F-4D97-AF65-F5344CB8AC3E}">
        <p14:creationId xmlns:p14="http://schemas.microsoft.com/office/powerpoint/2010/main" val="11464560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Chart 34">
            <a:extLst>
              <a:ext uri="{FF2B5EF4-FFF2-40B4-BE49-F238E27FC236}">
                <a16:creationId xmlns:a16="http://schemas.microsoft.com/office/drawing/2014/main" id="{A430321B-E3A2-F69D-0314-1571C7D8AB20}"/>
              </a:ext>
            </a:extLst>
          </p:cNvPr>
          <p:cNvGraphicFramePr/>
          <p:nvPr>
            <p:extLst>
              <p:ext uri="{D42A27DB-BD31-4B8C-83A1-F6EECF244321}">
                <p14:modId xmlns:p14="http://schemas.microsoft.com/office/powerpoint/2010/main" val="590529642"/>
              </p:ext>
            </p:extLst>
          </p:nvPr>
        </p:nvGraphicFramePr>
        <p:xfrm>
          <a:off x="1598019" y="2387660"/>
          <a:ext cx="3238760" cy="31407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784E65F5-9FE9-473C-9BBA-C272E803B492}"/>
              </a:ext>
            </a:extLst>
          </p:cNvPr>
          <p:cNvSpPr>
            <a:spLocks noGrp="1"/>
          </p:cNvSpPr>
          <p:nvPr>
            <p:ph type="title"/>
          </p:nvPr>
        </p:nvSpPr>
        <p:spPr/>
        <p:txBody>
          <a:bodyPr/>
          <a:lstStyle/>
          <a:p>
            <a:r>
              <a:rPr lang="en-US" dirty="0"/>
              <a:t>Money Continues to Be Available for Digital Investments</a:t>
            </a:r>
          </a:p>
        </p:txBody>
      </p:sp>
      <p:sp>
        <p:nvSpPr>
          <p:cNvPr id="39" name="Text Placeholder 38">
            <a:extLst>
              <a:ext uri="{FF2B5EF4-FFF2-40B4-BE49-F238E27FC236}">
                <a16:creationId xmlns:a16="http://schemas.microsoft.com/office/drawing/2014/main" id="{8909E3D1-45D6-2FFD-D625-9EC6F3E6671F}"/>
              </a:ext>
            </a:extLst>
          </p:cNvPr>
          <p:cNvSpPr>
            <a:spLocks noGrp="1"/>
          </p:cNvSpPr>
          <p:nvPr>
            <p:ph type="body" sz="quarter" idx="10"/>
          </p:nvPr>
        </p:nvSpPr>
        <p:spPr>
          <a:xfrm>
            <a:off x="468489" y="1353086"/>
            <a:ext cx="11274425" cy="247580"/>
          </a:xfrm>
        </p:spPr>
        <p:txBody>
          <a:bodyPr/>
          <a:lstStyle/>
          <a:p>
            <a:r>
              <a:rPr lang="en-US" dirty="0"/>
              <a:t>CEO Plans for Spending on Digital Initiatives</a:t>
            </a:r>
          </a:p>
        </p:txBody>
      </p:sp>
      <p:sp>
        <p:nvSpPr>
          <p:cNvPr id="5" name="TextBox 4">
            <a:extLst>
              <a:ext uri="{FF2B5EF4-FFF2-40B4-BE49-F238E27FC236}">
                <a16:creationId xmlns:a16="http://schemas.microsoft.com/office/drawing/2014/main" id="{D86AE955-0C0A-4236-A574-2AE3653C3733}"/>
              </a:ext>
            </a:extLst>
          </p:cNvPr>
          <p:cNvSpPr txBox="1"/>
          <p:nvPr/>
        </p:nvSpPr>
        <p:spPr>
          <a:xfrm>
            <a:off x="468216" y="5531347"/>
            <a:ext cx="9220570" cy="769441"/>
          </a:xfrm>
          <a:prstGeom prst="rect">
            <a:avLst/>
          </a:prstGeom>
          <a:noFill/>
        </p:spPr>
        <p:txBody>
          <a:bodyPr wrap="square" lIns="0" tIns="91440" rIns="91440" bIns="9144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n = 156, All MSE Responde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Arial" panose="020B0604020202020204"/>
                <a:ea typeface="+mn-ea"/>
                <a:cs typeface="Arial" panose="020B0604020202020204" pitchFamily="34" charset="0"/>
              </a:rPr>
              <a:t>Source: 2023 Gartner CEO and Senior Business Executive Survey</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7F7F7F"/>
                </a:solidFill>
                <a:effectLst/>
                <a:latin typeface="Arial" panose="020B0604020202020204" pitchFamily="34" charset="0"/>
              </a:rPr>
              <a:t>Note: Percentages may not add to 100% due to rounding</a:t>
            </a:r>
            <a:endParaRPr kumimoji="0" lang="en-US" sz="1200" b="0" i="0" u="none" strike="noStrike" kern="1200" cap="none" spc="0" normalizeH="0" baseline="0" noProof="0" dirty="0">
              <a:ln>
                <a:noFill/>
              </a:ln>
              <a:solidFill>
                <a:prstClr val="black">
                  <a:lumMod val="50000"/>
                  <a:lumOff val="50000"/>
                </a:prstClr>
              </a:solidFill>
              <a:effectLst/>
              <a:uLnTx/>
              <a:uFillTx/>
              <a:latin typeface="Arial" panose="020B0604020202020204"/>
              <a:ea typeface="+mn-ea"/>
              <a:cs typeface="Arial" panose="020B0604020202020204" pitchFamily="34" charset="0"/>
            </a:endParaRPr>
          </a:p>
        </p:txBody>
      </p:sp>
      <p:sp>
        <p:nvSpPr>
          <p:cNvPr id="11" name="Google Shape;367;p7">
            <a:extLst>
              <a:ext uri="{FF2B5EF4-FFF2-40B4-BE49-F238E27FC236}">
                <a16:creationId xmlns:a16="http://schemas.microsoft.com/office/drawing/2014/main" id="{1A1829D2-2B2D-7C3F-49DB-D75838B311AB}"/>
              </a:ext>
            </a:extLst>
          </p:cNvPr>
          <p:cNvSpPr/>
          <p:nvPr/>
        </p:nvSpPr>
        <p:spPr>
          <a:xfrm>
            <a:off x="5965889" y="1888198"/>
            <a:ext cx="5162754" cy="592744"/>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400" b="1" i="0" u="none" strike="noStrike" cap="none" dirty="0">
                <a:solidFill>
                  <a:srgbClr val="000000"/>
                </a:solidFill>
                <a:latin typeface="Arial"/>
                <a:ea typeface="Arial"/>
                <a:cs typeface="Arial"/>
                <a:sym typeface="Arial"/>
              </a:rPr>
              <a:t>Digital initiatives </a:t>
            </a:r>
            <a:r>
              <a:rPr lang="en-US" sz="1400" b="0" i="0" u="none" strike="noStrike" cap="none" dirty="0">
                <a:solidFill>
                  <a:srgbClr val="000000"/>
                </a:solidFill>
                <a:latin typeface="Arial"/>
                <a:ea typeface="Arial"/>
                <a:cs typeface="Arial"/>
                <a:sym typeface="Arial"/>
              </a:rPr>
              <a:t>are the things that an organization affects with technology. </a:t>
            </a:r>
          </a:p>
          <a:p>
            <a:pPr marL="0" marR="0" lvl="0" indent="0" algn="l" rtl="0">
              <a:lnSpc>
                <a:spcPct val="100000"/>
              </a:lnSpc>
              <a:spcBef>
                <a:spcPts val="0"/>
              </a:spcBef>
              <a:spcAft>
                <a:spcPts val="0"/>
              </a:spcAft>
              <a:buClr>
                <a:srgbClr val="000000"/>
              </a:buClr>
              <a:buSzPts val="1200"/>
              <a:buFont typeface="Arial"/>
              <a:buNone/>
            </a:pPr>
            <a:r>
              <a:rPr lang="en-US" sz="1400" b="0" i="0" u="none" strike="noStrike" cap="none" dirty="0">
                <a:solidFill>
                  <a:srgbClr val="000000"/>
                </a:solidFill>
                <a:latin typeface="Arial"/>
                <a:ea typeface="Arial"/>
                <a:cs typeface="Arial"/>
                <a:sym typeface="Arial"/>
              </a:rPr>
              <a:t>The </a:t>
            </a:r>
            <a:r>
              <a:rPr lang="en-US" sz="1400" b="1" i="0" u="none" strike="noStrike" cap="none" dirty="0">
                <a:solidFill>
                  <a:srgbClr val="000000"/>
                </a:solidFill>
                <a:latin typeface="Arial"/>
                <a:ea typeface="Arial"/>
                <a:cs typeface="Arial"/>
                <a:sym typeface="Arial"/>
              </a:rPr>
              <a:t>three building blocks</a:t>
            </a:r>
            <a:r>
              <a:rPr lang="en-US" sz="1400" b="0" i="0" u="none" strike="noStrike" cap="none" dirty="0">
                <a:solidFill>
                  <a:srgbClr val="000000"/>
                </a:solidFill>
                <a:latin typeface="Arial"/>
                <a:ea typeface="Arial"/>
                <a:cs typeface="Arial"/>
                <a:sym typeface="Arial"/>
              </a:rPr>
              <a:t> are:</a:t>
            </a:r>
          </a:p>
        </p:txBody>
      </p:sp>
      <p:grpSp>
        <p:nvGrpSpPr>
          <p:cNvPr id="4" name="Group 3">
            <a:extLst>
              <a:ext uri="{FF2B5EF4-FFF2-40B4-BE49-F238E27FC236}">
                <a16:creationId xmlns:a16="http://schemas.microsoft.com/office/drawing/2014/main" id="{D2B6CFB8-BFBB-F2BE-D1EC-9F102096D412}"/>
              </a:ext>
            </a:extLst>
          </p:cNvPr>
          <p:cNvGrpSpPr/>
          <p:nvPr/>
        </p:nvGrpSpPr>
        <p:grpSpPr>
          <a:xfrm>
            <a:off x="5959022" y="4577613"/>
            <a:ext cx="5178678" cy="932968"/>
            <a:chOff x="5862259" y="4547389"/>
            <a:chExt cx="5875715" cy="932968"/>
          </a:xfrm>
        </p:grpSpPr>
        <p:grpSp>
          <p:nvGrpSpPr>
            <p:cNvPr id="28" name="Group 27">
              <a:extLst>
                <a:ext uri="{FF2B5EF4-FFF2-40B4-BE49-F238E27FC236}">
                  <a16:creationId xmlns:a16="http://schemas.microsoft.com/office/drawing/2014/main" id="{E786D5D7-7217-F9DF-D385-D956ACE1CFA3}"/>
                </a:ext>
              </a:extLst>
            </p:cNvPr>
            <p:cNvGrpSpPr/>
            <p:nvPr/>
          </p:nvGrpSpPr>
          <p:grpSpPr>
            <a:xfrm>
              <a:off x="6278343" y="4547389"/>
              <a:ext cx="2406594" cy="208344"/>
              <a:chOff x="6594762" y="3324828"/>
              <a:chExt cx="2254289" cy="208344"/>
            </a:xfrm>
            <a:solidFill>
              <a:srgbClr val="D3D3D3"/>
            </a:solidFill>
          </p:grpSpPr>
          <p:sp>
            <p:nvSpPr>
              <p:cNvPr id="29" name="Rectangle 28">
                <a:extLst>
                  <a:ext uri="{FF2B5EF4-FFF2-40B4-BE49-F238E27FC236}">
                    <a16:creationId xmlns:a16="http://schemas.microsoft.com/office/drawing/2014/main" id="{DD17CB6B-3F32-8CFE-355A-EB3A1B7FFA98}"/>
                  </a:ext>
                </a:extLst>
              </p:cNvPr>
              <p:cNvSpPr/>
              <p:nvPr/>
            </p:nvSpPr>
            <p:spPr>
              <a:xfrm>
                <a:off x="6594762"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0" name="Rectangle 29">
                <a:extLst>
                  <a:ext uri="{FF2B5EF4-FFF2-40B4-BE49-F238E27FC236}">
                    <a16:creationId xmlns:a16="http://schemas.microsoft.com/office/drawing/2014/main" id="{DED47B59-51E6-CBB6-A783-3B07B8A0995E}"/>
                  </a:ext>
                </a:extLst>
              </p:cNvPr>
              <p:cNvSpPr/>
              <p:nvPr/>
            </p:nvSpPr>
            <p:spPr>
              <a:xfrm>
                <a:off x="7484626"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1" name="Rectangle 30">
                <a:extLst>
                  <a:ext uri="{FF2B5EF4-FFF2-40B4-BE49-F238E27FC236}">
                    <a16:creationId xmlns:a16="http://schemas.microsoft.com/office/drawing/2014/main" id="{FA3C51E9-2779-F0BD-56D1-FBDDB451075B}"/>
                  </a:ext>
                </a:extLst>
              </p:cNvPr>
              <p:cNvSpPr/>
              <p:nvPr/>
            </p:nvSpPr>
            <p:spPr>
              <a:xfrm>
                <a:off x="8374489"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grpSp>
          <p:nvGrpSpPr>
            <p:cNvPr id="32" name="Group 31">
              <a:extLst>
                <a:ext uri="{FF2B5EF4-FFF2-40B4-BE49-F238E27FC236}">
                  <a16:creationId xmlns:a16="http://schemas.microsoft.com/office/drawing/2014/main" id="{99298FE7-10F2-3C8F-E071-52EEBE3A1188}"/>
                </a:ext>
              </a:extLst>
            </p:cNvPr>
            <p:cNvGrpSpPr/>
            <p:nvPr/>
          </p:nvGrpSpPr>
          <p:grpSpPr>
            <a:xfrm>
              <a:off x="9688786" y="4547389"/>
              <a:ext cx="1604926" cy="208344"/>
              <a:chOff x="9772606" y="3324828"/>
              <a:chExt cx="1503356" cy="208344"/>
            </a:xfrm>
            <a:solidFill>
              <a:srgbClr val="D3D3D3"/>
            </a:solidFill>
          </p:grpSpPr>
          <p:sp>
            <p:nvSpPr>
              <p:cNvPr id="33" name="Rectangle 32">
                <a:extLst>
                  <a:ext uri="{FF2B5EF4-FFF2-40B4-BE49-F238E27FC236}">
                    <a16:creationId xmlns:a16="http://schemas.microsoft.com/office/drawing/2014/main" id="{083B4B1A-5711-B335-3CDD-28678CCAB578}"/>
                  </a:ext>
                </a:extLst>
              </p:cNvPr>
              <p:cNvSpPr/>
              <p:nvPr/>
            </p:nvSpPr>
            <p:spPr>
              <a:xfrm>
                <a:off x="9772606"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34" name="Rectangle 33">
                <a:extLst>
                  <a:ext uri="{FF2B5EF4-FFF2-40B4-BE49-F238E27FC236}">
                    <a16:creationId xmlns:a16="http://schemas.microsoft.com/office/drawing/2014/main" id="{202CED0E-28BF-029E-6528-E7869DCD4765}"/>
                  </a:ext>
                </a:extLst>
              </p:cNvPr>
              <p:cNvSpPr/>
              <p:nvPr/>
            </p:nvSpPr>
            <p:spPr>
              <a:xfrm>
                <a:off x="10801400"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sp>
          <p:nvSpPr>
            <p:cNvPr id="12" name="Google Shape;367;p7">
              <a:extLst>
                <a:ext uri="{FF2B5EF4-FFF2-40B4-BE49-F238E27FC236}">
                  <a16:creationId xmlns:a16="http://schemas.microsoft.com/office/drawing/2014/main" id="{2F20106F-4A36-237F-3764-1539BB0275A2}"/>
                </a:ext>
              </a:extLst>
            </p:cNvPr>
            <p:cNvSpPr/>
            <p:nvPr/>
          </p:nvSpPr>
          <p:spPr>
            <a:xfrm>
              <a:off x="5862259" y="4649360"/>
              <a:ext cx="5875715" cy="830997"/>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solidFill>
              <a:srgbClr val="D3D3D3"/>
            </a:solidFill>
            <a:ln>
              <a:noFill/>
            </a:ln>
          </p:spPr>
          <p:txBody>
            <a:bodyPr spcFirstLastPara="1" wrap="square" lIns="91440" tIns="91440" rIns="91440" bIns="9144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400" b="1" i="0" u="none" strike="noStrike" cap="none" dirty="0">
                  <a:solidFill>
                    <a:srgbClr val="000000"/>
                  </a:solidFill>
                  <a:latin typeface="Arial"/>
                  <a:ea typeface="Arial"/>
                  <a:cs typeface="Arial"/>
                  <a:sym typeface="Arial"/>
                </a:rPr>
                <a:t>Digital Technology Enablement </a:t>
              </a:r>
            </a:p>
            <a:p>
              <a:pPr marL="0" marR="0" lvl="0" indent="0" algn="l" rtl="0">
                <a:lnSpc>
                  <a:spcPct val="100000"/>
                </a:lnSpc>
                <a:spcBef>
                  <a:spcPts val="0"/>
                </a:spcBef>
                <a:spcAft>
                  <a:spcPts val="0"/>
                </a:spcAft>
                <a:buClr>
                  <a:srgbClr val="000000"/>
                </a:buClr>
                <a:buSzPts val="1200"/>
                <a:buFont typeface="Arial"/>
                <a:buNone/>
              </a:pPr>
              <a:r>
                <a:rPr lang="en-US" sz="1400" b="0" i="0" u="none" strike="noStrike" cap="none" dirty="0">
                  <a:solidFill>
                    <a:srgbClr val="000000"/>
                  </a:solidFill>
                  <a:latin typeface="Arial"/>
                  <a:ea typeface="Arial"/>
                  <a:cs typeface="Arial"/>
                  <a:sym typeface="Arial"/>
                </a:rPr>
                <a:t>The technology platforms that IT builds and maintains to meet, and even anticipate, business need.</a:t>
              </a:r>
            </a:p>
          </p:txBody>
        </p:sp>
      </p:grpSp>
      <p:grpSp>
        <p:nvGrpSpPr>
          <p:cNvPr id="6" name="Group 5">
            <a:extLst>
              <a:ext uri="{FF2B5EF4-FFF2-40B4-BE49-F238E27FC236}">
                <a16:creationId xmlns:a16="http://schemas.microsoft.com/office/drawing/2014/main" id="{32ED915F-4AF1-E714-3D64-B84E51738186}"/>
              </a:ext>
            </a:extLst>
          </p:cNvPr>
          <p:cNvGrpSpPr/>
          <p:nvPr/>
        </p:nvGrpSpPr>
        <p:grpSpPr>
          <a:xfrm>
            <a:off x="5959022" y="2612822"/>
            <a:ext cx="5178678" cy="1817040"/>
            <a:chOff x="5862259" y="2392863"/>
            <a:chExt cx="5875715" cy="1817040"/>
          </a:xfrm>
        </p:grpSpPr>
        <p:grpSp>
          <p:nvGrpSpPr>
            <p:cNvPr id="21" name="Group 20">
              <a:extLst>
                <a:ext uri="{FF2B5EF4-FFF2-40B4-BE49-F238E27FC236}">
                  <a16:creationId xmlns:a16="http://schemas.microsoft.com/office/drawing/2014/main" id="{ABE9FB94-CE20-CA35-4310-3CE269CA6625}"/>
                </a:ext>
              </a:extLst>
            </p:cNvPr>
            <p:cNvGrpSpPr/>
            <p:nvPr/>
          </p:nvGrpSpPr>
          <p:grpSpPr>
            <a:xfrm>
              <a:off x="6278343" y="2392863"/>
              <a:ext cx="2406594" cy="208344"/>
              <a:chOff x="6594762" y="3324828"/>
              <a:chExt cx="2254289" cy="208344"/>
            </a:xfrm>
            <a:solidFill>
              <a:srgbClr val="D3D3D3"/>
            </a:solidFill>
          </p:grpSpPr>
          <p:sp>
            <p:nvSpPr>
              <p:cNvPr id="18" name="Rectangle 17">
                <a:extLst>
                  <a:ext uri="{FF2B5EF4-FFF2-40B4-BE49-F238E27FC236}">
                    <a16:creationId xmlns:a16="http://schemas.microsoft.com/office/drawing/2014/main" id="{64798268-851B-AE54-BF06-8D0A64FCA345}"/>
                  </a:ext>
                </a:extLst>
              </p:cNvPr>
              <p:cNvSpPr/>
              <p:nvPr/>
            </p:nvSpPr>
            <p:spPr>
              <a:xfrm>
                <a:off x="6594762"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9" name="Rectangle 18">
                <a:extLst>
                  <a:ext uri="{FF2B5EF4-FFF2-40B4-BE49-F238E27FC236}">
                    <a16:creationId xmlns:a16="http://schemas.microsoft.com/office/drawing/2014/main" id="{AE41411F-BCA9-9718-8A9F-910EE5E07A18}"/>
                  </a:ext>
                </a:extLst>
              </p:cNvPr>
              <p:cNvSpPr/>
              <p:nvPr/>
            </p:nvSpPr>
            <p:spPr>
              <a:xfrm>
                <a:off x="7484626"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20" name="Rectangle 19">
                <a:extLst>
                  <a:ext uri="{FF2B5EF4-FFF2-40B4-BE49-F238E27FC236}">
                    <a16:creationId xmlns:a16="http://schemas.microsoft.com/office/drawing/2014/main" id="{8CC34447-F223-C335-9E4E-2F8C9463B890}"/>
                  </a:ext>
                </a:extLst>
              </p:cNvPr>
              <p:cNvSpPr/>
              <p:nvPr/>
            </p:nvSpPr>
            <p:spPr>
              <a:xfrm>
                <a:off x="8374489"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sp>
          <p:nvSpPr>
            <p:cNvPr id="14" name="Google Shape;367;p7">
              <a:extLst>
                <a:ext uri="{FF2B5EF4-FFF2-40B4-BE49-F238E27FC236}">
                  <a16:creationId xmlns:a16="http://schemas.microsoft.com/office/drawing/2014/main" id="{46E5807B-3417-E2CB-C573-D7E0619EFF0B}"/>
                </a:ext>
              </a:extLst>
            </p:cNvPr>
            <p:cNvSpPr/>
            <p:nvPr/>
          </p:nvSpPr>
          <p:spPr>
            <a:xfrm>
              <a:off x="5862259" y="2485747"/>
              <a:ext cx="3238761" cy="172415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solidFill>
              <a:srgbClr val="D3D3D3"/>
            </a:solidFill>
            <a:ln>
              <a:noFill/>
            </a:ln>
          </p:spPr>
          <p:txBody>
            <a:bodyPr spcFirstLastPara="1" wrap="square" lIns="91440" tIns="91440" rIns="91440" bIns="9144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400" b="1" i="0" u="none" strike="noStrike" cap="none" dirty="0">
                  <a:solidFill>
                    <a:srgbClr val="000000"/>
                  </a:solidFill>
                  <a:latin typeface="Arial"/>
                  <a:ea typeface="Arial"/>
                  <a:cs typeface="Arial"/>
                  <a:sym typeface="Arial"/>
                </a:rPr>
                <a:t>Digital Business Optimization</a:t>
              </a:r>
            </a:p>
            <a:p>
              <a:pPr marL="0" marR="0" lvl="0" indent="0" algn="l" rtl="0">
                <a:lnSpc>
                  <a:spcPct val="100000"/>
                </a:lnSpc>
                <a:spcBef>
                  <a:spcPts val="0"/>
                </a:spcBef>
                <a:spcAft>
                  <a:spcPts val="0"/>
                </a:spcAft>
                <a:buClr>
                  <a:srgbClr val="000000"/>
                </a:buClr>
                <a:buSzPts val="1200"/>
                <a:buFont typeface="Arial"/>
                <a:buNone/>
              </a:pPr>
              <a:r>
                <a:rPr lang="en-US" sz="1400" b="0" i="0" u="none" strike="noStrike" cap="none" dirty="0">
                  <a:solidFill>
                    <a:srgbClr val="000000"/>
                  </a:solidFill>
                  <a:latin typeface="Arial"/>
                  <a:ea typeface="Arial"/>
                  <a:cs typeface="Arial"/>
                  <a:sym typeface="Arial"/>
                </a:rPr>
                <a:t>Improve operational excellence, including customer experience, employee experience, workflow, and cost and/or speed of operations, all without changing the business model.</a:t>
              </a:r>
            </a:p>
          </p:txBody>
        </p:sp>
        <p:grpSp>
          <p:nvGrpSpPr>
            <p:cNvPr id="22" name="Group 21">
              <a:extLst>
                <a:ext uri="{FF2B5EF4-FFF2-40B4-BE49-F238E27FC236}">
                  <a16:creationId xmlns:a16="http://schemas.microsoft.com/office/drawing/2014/main" id="{9433D07F-E65F-8993-A582-69D8E9004082}"/>
                </a:ext>
              </a:extLst>
            </p:cNvPr>
            <p:cNvGrpSpPr/>
            <p:nvPr/>
          </p:nvGrpSpPr>
          <p:grpSpPr>
            <a:xfrm>
              <a:off x="9688786" y="2392863"/>
              <a:ext cx="1604926" cy="208344"/>
              <a:chOff x="9772606" y="3324828"/>
              <a:chExt cx="1503356" cy="208344"/>
            </a:xfrm>
            <a:solidFill>
              <a:srgbClr val="D3D3D3"/>
            </a:solidFill>
          </p:grpSpPr>
          <p:sp>
            <p:nvSpPr>
              <p:cNvPr id="16" name="Rectangle 15">
                <a:extLst>
                  <a:ext uri="{FF2B5EF4-FFF2-40B4-BE49-F238E27FC236}">
                    <a16:creationId xmlns:a16="http://schemas.microsoft.com/office/drawing/2014/main" id="{598C6409-08D1-FF15-DB3D-24A2A1D5C410}"/>
                  </a:ext>
                </a:extLst>
              </p:cNvPr>
              <p:cNvSpPr/>
              <p:nvPr/>
            </p:nvSpPr>
            <p:spPr>
              <a:xfrm>
                <a:off x="9772606"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17" name="Rectangle 16">
                <a:extLst>
                  <a:ext uri="{FF2B5EF4-FFF2-40B4-BE49-F238E27FC236}">
                    <a16:creationId xmlns:a16="http://schemas.microsoft.com/office/drawing/2014/main" id="{A3F8E02F-0B64-A39D-6588-62D77EA3DDC5}"/>
                  </a:ext>
                </a:extLst>
              </p:cNvPr>
              <p:cNvSpPr/>
              <p:nvPr/>
            </p:nvSpPr>
            <p:spPr>
              <a:xfrm>
                <a:off x="10801400" y="3324828"/>
                <a:ext cx="474562" cy="2083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grpSp>
        <p:sp>
          <p:nvSpPr>
            <p:cNvPr id="15" name="Google Shape;367;p7">
              <a:extLst>
                <a:ext uri="{FF2B5EF4-FFF2-40B4-BE49-F238E27FC236}">
                  <a16:creationId xmlns:a16="http://schemas.microsoft.com/office/drawing/2014/main" id="{548C7382-23C5-3AED-A45D-F5DD6E9D21E3}"/>
                </a:ext>
              </a:extLst>
            </p:cNvPr>
            <p:cNvSpPr/>
            <p:nvPr/>
          </p:nvSpPr>
          <p:spPr>
            <a:xfrm>
              <a:off x="9244525" y="2485747"/>
              <a:ext cx="2493449" cy="1724156"/>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solidFill>
              <a:srgbClr val="D3D3D3"/>
            </a:solidFill>
            <a:ln>
              <a:noFill/>
            </a:ln>
          </p:spPr>
          <p:txBody>
            <a:bodyPr spcFirstLastPara="1" wrap="square" lIns="91440" tIns="91440" rIns="91440" bIns="9144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400" b="1" i="0" u="none" strike="noStrike" cap="none" dirty="0">
                  <a:solidFill>
                    <a:srgbClr val="000000"/>
                  </a:solidFill>
                  <a:latin typeface="Arial"/>
                  <a:ea typeface="Arial"/>
                  <a:cs typeface="Arial"/>
                  <a:sym typeface="Arial"/>
                </a:rPr>
                <a:t>Digital Business Transformation</a:t>
              </a:r>
            </a:p>
            <a:p>
              <a:pPr marL="0" marR="0" lvl="0" indent="0" algn="l" rtl="0">
                <a:lnSpc>
                  <a:spcPct val="100000"/>
                </a:lnSpc>
                <a:spcBef>
                  <a:spcPts val="0"/>
                </a:spcBef>
                <a:spcAft>
                  <a:spcPts val="0"/>
                </a:spcAft>
                <a:buClr>
                  <a:srgbClr val="000000"/>
                </a:buClr>
                <a:buSzPts val="1200"/>
                <a:buFont typeface="Arial"/>
                <a:buNone/>
              </a:pPr>
              <a:r>
                <a:rPr lang="en-US" sz="1400" b="0" i="0" u="none" strike="noStrike" cap="none" dirty="0">
                  <a:solidFill>
                    <a:srgbClr val="000000"/>
                  </a:solidFill>
                  <a:latin typeface="Arial"/>
                  <a:ea typeface="Arial"/>
                  <a:cs typeface="Arial"/>
                  <a:sym typeface="Arial"/>
                </a:rPr>
                <a:t>Create new business opportunities and revenue streams to the degree that it requires business model change.</a:t>
              </a:r>
            </a:p>
          </p:txBody>
        </p:sp>
      </p:grpSp>
      <p:sp>
        <p:nvSpPr>
          <p:cNvPr id="24" name="Content Placeholder 2">
            <a:extLst>
              <a:ext uri="{FF2B5EF4-FFF2-40B4-BE49-F238E27FC236}">
                <a16:creationId xmlns:a16="http://schemas.microsoft.com/office/drawing/2014/main" id="{3B1BF8C4-05E3-9186-6FD5-B650B3346259}"/>
              </a:ext>
            </a:extLst>
          </p:cNvPr>
          <p:cNvSpPr txBox="1">
            <a:spLocks/>
          </p:cNvSpPr>
          <p:nvPr/>
        </p:nvSpPr>
        <p:spPr>
          <a:xfrm>
            <a:off x="1153757" y="2580368"/>
            <a:ext cx="912017" cy="443198"/>
          </a:xfrm>
          <a:prstGeom prst="rect">
            <a:avLst/>
          </a:prstGeom>
        </p:spPr>
        <p:txBody>
          <a:bodyPr vert="horz" wrap="square" lIns="45720" tIns="0" rIns="0" bIns="0" rtlCol="0">
            <a:spAutoFit/>
          </a:bodyPr>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0"/>
              </a:spcBef>
              <a:buFont typeface="Arial" panose="020B0604020202020204" pitchFamily="34" charset="0"/>
              <a:buNone/>
            </a:pPr>
            <a:r>
              <a:rPr lang="en-US" sz="1600" b="1" dirty="0">
                <a:solidFill>
                  <a:srgbClr val="000000"/>
                </a:solidFill>
              </a:rPr>
              <a:t>16%</a:t>
            </a:r>
          </a:p>
          <a:p>
            <a:pPr marL="0" indent="0" algn="r">
              <a:spcBef>
                <a:spcPts val="0"/>
              </a:spcBef>
              <a:buFont typeface="Arial" panose="020B0604020202020204" pitchFamily="34" charset="0"/>
              <a:buNone/>
            </a:pPr>
            <a:r>
              <a:rPr lang="en-US" sz="1600" dirty="0">
                <a:solidFill>
                  <a:srgbClr val="000000"/>
                </a:solidFill>
              </a:rPr>
              <a:t>Maintain</a:t>
            </a:r>
          </a:p>
        </p:txBody>
      </p:sp>
      <p:sp>
        <p:nvSpPr>
          <p:cNvPr id="23" name="Content Placeholder 2">
            <a:extLst>
              <a:ext uri="{FF2B5EF4-FFF2-40B4-BE49-F238E27FC236}">
                <a16:creationId xmlns:a16="http://schemas.microsoft.com/office/drawing/2014/main" id="{C4355FB0-DC5D-E310-95A9-773ABD36ECC9}"/>
              </a:ext>
            </a:extLst>
          </p:cNvPr>
          <p:cNvSpPr txBox="1">
            <a:spLocks/>
          </p:cNvSpPr>
          <p:nvPr/>
        </p:nvSpPr>
        <p:spPr>
          <a:xfrm>
            <a:off x="4792852" y="3736411"/>
            <a:ext cx="959135" cy="443198"/>
          </a:xfrm>
          <a:prstGeom prst="rect">
            <a:avLst/>
          </a:prstGeom>
        </p:spPr>
        <p:txBody>
          <a:bodyPr vert="horz" wrap="square" lIns="45720" tIns="0" rIns="0" bIns="0" rtlCol="0">
            <a:spAutoFit/>
          </a:bodyPr>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1600" b="1" dirty="0">
                <a:solidFill>
                  <a:srgbClr val="000000"/>
                </a:solidFill>
              </a:rPr>
              <a:t>79%</a:t>
            </a:r>
            <a:endParaRPr lang="en-US" sz="1600" dirty="0">
              <a:solidFill>
                <a:srgbClr val="000000"/>
              </a:solidFill>
            </a:endParaRPr>
          </a:p>
          <a:p>
            <a:pPr marL="0" indent="0">
              <a:spcBef>
                <a:spcPts val="0"/>
              </a:spcBef>
              <a:buFont typeface="Arial" panose="020B0604020202020204" pitchFamily="34" charset="0"/>
              <a:buNone/>
            </a:pPr>
            <a:r>
              <a:rPr lang="en-US" sz="1600" dirty="0">
                <a:solidFill>
                  <a:srgbClr val="000000"/>
                </a:solidFill>
              </a:rPr>
              <a:t>Increase</a:t>
            </a:r>
          </a:p>
        </p:txBody>
      </p:sp>
      <p:sp>
        <p:nvSpPr>
          <p:cNvPr id="25" name="Content Placeholder 2">
            <a:extLst>
              <a:ext uri="{FF2B5EF4-FFF2-40B4-BE49-F238E27FC236}">
                <a16:creationId xmlns:a16="http://schemas.microsoft.com/office/drawing/2014/main" id="{E3ACA26C-901B-07D5-1BBD-A7CDF0B253E4}"/>
              </a:ext>
            </a:extLst>
          </p:cNvPr>
          <p:cNvSpPr txBox="1">
            <a:spLocks/>
          </p:cNvSpPr>
          <p:nvPr/>
        </p:nvSpPr>
        <p:spPr>
          <a:xfrm>
            <a:off x="2241350" y="2011420"/>
            <a:ext cx="1000433" cy="443198"/>
          </a:xfrm>
          <a:prstGeom prst="rect">
            <a:avLst/>
          </a:prstGeom>
        </p:spPr>
        <p:txBody>
          <a:bodyPr vert="horz" wrap="square" lIns="45720" tIns="0" rIns="0" bIns="0" rtlCol="0">
            <a:spAutoFit/>
          </a:bodyPr>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0"/>
              </a:spcBef>
              <a:buFont typeface="Arial" panose="020B0604020202020204" pitchFamily="34" charset="0"/>
              <a:buNone/>
            </a:pPr>
            <a:r>
              <a:rPr lang="en-US" sz="1600" b="1" dirty="0">
                <a:solidFill>
                  <a:srgbClr val="000000"/>
                </a:solidFill>
              </a:rPr>
              <a:t>4%</a:t>
            </a:r>
          </a:p>
          <a:p>
            <a:pPr marL="0" indent="0" algn="r">
              <a:spcBef>
                <a:spcPts val="0"/>
              </a:spcBef>
              <a:buFont typeface="Arial" panose="020B0604020202020204" pitchFamily="34" charset="0"/>
              <a:buNone/>
            </a:pPr>
            <a:r>
              <a:rPr lang="en-US" sz="1600" dirty="0">
                <a:solidFill>
                  <a:srgbClr val="000000"/>
                </a:solidFill>
              </a:rPr>
              <a:t>Decrease</a:t>
            </a:r>
          </a:p>
        </p:txBody>
      </p:sp>
    </p:spTree>
    <p:extLst>
      <p:ext uri="{BB962C8B-B14F-4D97-AF65-F5344CB8AC3E}">
        <p14:creationId xmlns:p14="http://schemas.microsoft.com/office/powerpoint/2010/main" val="2167856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SORT(R2C2){descending=true} DBR DEL(R2:LASTC2){val=&quot;-&quot; .or. val=”0%”}">
            <a:extLst>
              <a:ext uri="{FF2B5EF4-FFF2-40B4-BE49-F238E27FC236}">
                <a16:creationId xmlns:a16="http://schemas.microsoft.com/office/drawing/2014/main" id="{142EBA84-F884-330C-BED8-2B18CFD457C6}"/>
              </a:ext>
            </a:extLst>
          </p:cNvPr>
          <p:cNvGraphicFramePr/>
          <p:nvPr>
            <p:extLst>
              <p:ext uri="{D42A27DB-BD31-4B8C-83A1-F6EECF244321}">
                <p14:modId xmlns:p14="http://schemas.microsoft.com/office/powerpoint/2010/main" val="1266012885"/>
              </p:ext>
            </p:extLst>
          </p:nvPr>
        </p:nvGraphicFramePr>
        <p:xfrm>
          <a:off x="457200" y="2413859"/>
          <a:ext cx="11274424" cy="312060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A236CFB3-A7F0-40BA-AA9D-66C1DC16C907}"/>
              </a:ext>
            </a:extLst>
          </p:cNvPr>
          <p:cNvSpPr txBox="1"/>
          <p:nvPr/>
        </p:nvSpPr>
        <p:spPr>
          <a:xfrm>
            <a:off x="457200" y="5374938"/>
            <a:ext cx="10234246" cy="984885"/>
          </a:xfrm>
          <a:prstGeom prst="rect">
            <a:avLst/>
          </a:prstGeom>
          <a:noFill/>
        </p:spPr>
        <p:txBody>
          <a:bodyPr wrap="square" lIns="0" tIns="91440" rIns="91440" bIns="91440"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n varies; MSE Nonexecutive Board of Director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F7878"/>
                </a:solidFill>
                <a:effectLst/>
                <a:uLnTx/>
                <a:uFillTx/>
                <a:latin typeface="Arial"/>
                <a:ea typeface="+mn-ea"/>
                <a:cs typeface="Arial" panose="020B0604020202020204" pitchFamily="34" charset="0"/>
              </a:rPr>
              <a:t>Q: Which of these best describes the stage of your organization's digital business initiative — i.e., your organization's digitalization effor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F7878"/>
                </a:solidFill>
                <a:effectLst/>
                <a:uLnTx/>
                <a:uFillTx/>
                <a:latin typeface="Arial"/>
                <a:ea typeface="+mn-ea"/>
                <a:cs typeface="Arial" panose="020B0604020202020204" pitchFamily="34" charset="0"/>
              </a:rPr>
              <a:t>Source: 2023 Gartner Board of Directors Survey on Business Strategy in an Uncertain Worl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F7878"/>
                </a:solidFill>
                <a:effectLst/>
                <a:uLnTx/>
                <a:uFillTx/>
                <a:latin typeface="Arial" panose="020B0604020202020204" pitchFamily="34" charset="0"/>
                <a:ea typeface="+mn-ea"/>
                <a:cs typeface="Arial" panose="020B0604020202020204" pitchFamily="34" charset="0"/>
              </a:rPr>
              <a:t>Note: Years on the chart reflect the title of the board of directors surveys</a:t>
            </a:r>
            <a:endParaRPr kumimoji="0" lang="en-US" sz="1200" b="0" i="0" u="none" strike="noStrike" kern="1200" cap="none" spc="0" normalizeH="0" baseline="0" noProof="0" dirty="0">
              <a:ln>
                <a:noFill/>
              </a:ln>
              <a:solidFill>
                <a:srgbClr val="6F7878"/>
              </a:solidFill>
              <a:effectLst/>
              <a:uLnTx/>
              <a:uFillTx/>
              <a:latin typeface="Arial"/>
              <a:ea typeface="+mn-ea"/>
              <a:cs typeface="Arial" panose="020B0604020202020204" pitchFamily="34" charset="0"/>
            </a:endParaRPr>
          </a:p>
        </p:txBody>
      </p:sp>
      <p:sp>
        <p:nvSpPr>
          <p:cNvPr id="5" name="Title 4">
            <a:extLst>
              <a:ext uri="{FF2B5EF4-FFF2-40B4-BE49-F238E27FC236}">
                <a16:creationId xmlns:a16="http://schemas.microsoft.com/office/drawing/2014/main" id="{BE58FC88-E1A4-40C1-5603-F2F246DC5FC6}"/>
              </a:ext>
            </a:extLst>
          </p:cNvPr>
          <p:cNvSpPr>
            <a:spLocks noGrp="1"/>
          </p:cNvSpPr>
          <p:nvPr>
            <p:ph type="title"/>
          </p:nvPr>
        </p:nvSpPr>
        <p:spPr>
          <a:xfrm>
            <a:off x="457200" y="361950"/>
            <a:ext cx="8987742" cy="822960"/>
          </a:xfrm>
        </p:spPr>
        <p:txBody>
          <a:bodyPr/>
          <a:lstStyle/>
          <a:p>
            <a:r>
              <a:rPr lang="en-US"/>
              <a:t>Midsize Enterprises </a:t>
            </a:r>
            <a:r>
              <a:rPr lang="en-US" dirty="0"/>
              <a:t>Are Becoming More Digitally Mature</a:t>
            </a:r>
          </a:p>
        </p:txBody>
      </p:sp>
      <p:sp>
        <p:nvSpPr>
          <p:cNvPr id="6" name="Text Placeholder 5">
            <a:extLst>
              <a:ext uri="{FF2B5EF4-FFF2-40B4-BE49-F238E27FC236}">
                <a16:creationId xmlns:a16="http://schemas.microsoft.com/office/drawing/2014/main" id="{111307A5-5F52-B251-A275-EF98DB02B5A1}"/>
              </a:ext>
            </a:extLst>
          </p:cNvPr>
          <p:cNvSpPr>
            <a:spLocks noGrp="1"/>
          </p:cNvSpPr>
          <p:nvPr>
            <p:ph type="body" sz="quarter" idx="10"/>
          </p:nvPr>
        </p:nvSpPr>
        <p:spPr>
          <a:xfrm>
            <a:off x="468489" y="1346758"/>
            <a:ext cx="11274425" cy="247580"/>
          </a:xfrm>
        </p:spPr>
        <p:txBody>
          <a:bodyPr/>
          <a:lstStyle/>
          <a:p>
            <a:r>
              <a:rPr lang="en-US" dirty="0"/>
              <a:t>Stage of Organizations’ Digital Initiative — YoY Comparison</a:t>
            </a:r>
          </a:p>
        </p:txBody>
      </p:sp>
      <p:grpSp>
        <p:nvGrpSpPr>
          <p:cNvPr id="2" name="Group 1">
            <a:extLst>
              <a:ext uri="{FF2B5EF4-FFF2-40B4-BE49-F238E27FC236}">
                <a16:creationId xmlns:a16="http://schemas.microsoft.com/office/drawing/2014/main" id="{F123054F-320C-A76F-DEDA-DCE6C2B0A554}"/>
              </a:ext>
            </a:extLst>
          </p:cNvPr>
          <p:cNvGrpSpPr/>
          <p:nvPr/>
        </p:nvGrpSpPr>
        <p:grpSpPr>
          <a:xfrm>
            <a:off x="1063784" y="1779273"/>
            <a:ext cx="6362454" cy="215444"/>
            <a:chOff x="1063784" y="1708935"/>
            <a:chExt cx="6362454" cy="215444"/>
          </a:xfrm>
        </p:grpSpPr>
        <p:sp>
          <p:nvSpPr>
            <p:cNvPr id="19" name="Rectangle 18">
              <a:extLst>
                <a:ext uri="{FF2B5EF4-FFF2-40B4-BE49-F238E27FC236}">
                  <a16:creationId xmlns:a16="http://schemas.microsoft.com/office/drawing/2014/main" id="{F847ED47-B25E-365C-39ED-E0CC1492D262}"/>
                </a:ext>
              </a:extLst>
            </p:cNvPr>
            <p:cNvSpPr/>
            <p:nvPr/>
          </p:nvSpPr>
          <p:spPr>
            <a:xfrm>
              <a:off x="1063784" y="1735570"/>
              <a:ext cx="162174" cy="162174"/>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1" name="TextBox 20">
              <a:extLst>
                <a:ext uri="{FF2B5EF4-FFF2-40B4-BE49-F238E27FC236}">
                  <a16:creationId xmlns:a16="http://schemas.microsoft.com/office/drawing/2014/main" id="{79DF36DC-6FC5-FFB9-75DD-C5357BCC1647}"/>
                </a:ext>
              </a:extLst>
            </p:cNvPr>
            <p:cNvSpPr txBox="1"/>
            <p:nvPr/>
          </p:nvSpPr>
          <p:spPr>
            <a:xfrm>
              <a:off x="1246664" y="1708935"/>
              <a:ext cx="1306631" cy="215444"/>
            </a:xfrm>
            <a:prstGeom prst="rect">
              <a:avLst/>
            </a:prstGeom>
            <a:noFill/>
          </p:spPr>
          <p:txBody>
            <a:bodyPr wrap="square" lIns="91440" tIns="0" rIns="91440" bIns="0" rtlCol="0" anchor="ctr" anchorCtr="0">
              <a:spAutoFit/>
            </a:bodyPr>
            <a:lstStyle/>
            <a:p>
              <a:r>
                <a:rPr lang="en-US" sz="1400" dirty="0"/>
                <a:t>2020 (n = 40)</a:t>
              </a:r>
            </a:p>
          </p:txBody>
        </p:sp>
        <p:sp>
          <p:nvSpPr>
            <p:cNvPr id="23" name="Rectangle 22">
              <a:extLst>
                <a:ext uri="{FF2B5EF4-FFF2-40B4-BE49-F238E27FC236}">
                  <a16:creationId xmlns:a16="http://schemas.microsoft.com/office/drawing/2014/main" id="{4BFBBE62-5976-E733-F5F3-EDA7D12BE8B2}"/>
                </a:ext>
              </a:extLst>
            </p:cNvPr>
            <p:cNvSpPr/>
            <p:nvPr/>
          </p:nvSpPr>
          <p:spPr>
            <a:xfrm>
              <a:off x="2591639" y="1735570"/>
              <a:ext cx="162174" cy="162174"/>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4" name="TextBox 23">
              <a:extLst>
                <a:ext uri="{FF2B5EF4-FFF2-40B4-BE49-F238E27FC236}">
                  <a16:creationId xmlns:a16="http://schemas.microsoft.com/office/drawing/2014/main" id="{C9EFA760-DFFF-6B0C-9C54-0BC0975917B7}"/>
                </a:ext>
              </a:extLst>
            </p:cNvPr>
            <p:cNvSpPr txBox="1"/>
            <p:nvPr/>
          </p:nvSpPr>
          <p:spPr>
            <a:xfrm>
              <a:off x="2774519" y="1708935"/>
              <a:ext cx="1399231" cy="215444"/>
            </a:xfrm>
            <a:prstGeom prst="rect">
              <a:avLst/>
            </a:prstGeom>
            <a:noFill/>
          </p:spPr>
          <p:txBody>
            <a:bodyPr wrap="square" lIns="91440" tIns="0" rIns="91440" bIns="0" rtlCol="0" anchor="ctr" anchorCtr="0">
              <a:spAutoFit/>
            </a:bodyPr>
            <a:lstStyle/>
            <a:p>
              <a:r>
                <a:rPr lang="en-US" sz="1400" dirty="0"/>
                <a:t>2021 (n = 145)</a:t>
              </a:r>
            </a:p>
          </p:txBody>
        </p:sp>
        <p:sp>
          <p:nvSpPr>
            <p:cNvPr id="25" name="Rectangle 24">
              <a:extLst>
                <a:ext uri="{FF2B5EF4-FFF2-40B4-BE49-F238E27FC236}">
                  <a16:creationId xmlns:a16="http://schemas.microsoft.com/office/drawing/2014/main" id="{EF788253-6B72-5EEB-16B5-BA686DF11F4A}"/>
                </a:ext>
              </a:extLst>
            </p:cNvPr>
            <p:cNvSpPr/>
            <p:nvPr/>
          </p:nvSpPr>
          <p:spPr>
            <a:xfrm>
              <a:off x="4235245" y="1735570"/>
              <a:ext cx="162174" cy="162174"/>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6" name="TextBox 25">
              <a:extLst>
                <a:ext uri="{FF2B5EF4-FFF2-40B4-BE49-F238E27FC236}">
                  <a16:creationId xmlns:a16="http://schemas.microsoft.com/office/drawing/2014/main" id="{43684CCB-978A-EA22-B187-22AB8ED11D2B}"/>
                </a:ext>
              </a:extLst>
            </p:cNvPr>
            <p:cNvSpPr txBox="1"/>
            <p:nvPr/>
          </p:nvSpPr>
          <p:spPr>
            <a:xfrm>
              <a:off x="4418125" y="1708935"/>
              <a:ext cx="1399231" cy="215444"/>
            </a:xfrm>
            <a:prstGeom prst="rect">
              <a:avLst/>
            </a:prstGeom>
            <a:noFill/>
          </p:spPr>
          <p:txBody>
            <a:bodyPr wrap="square" lIns="91440" tIns="0" rIns="91440" bIns="0" rtlCol="0" anchor="ctr" anchorCtr="0">
              <a:spAutoFit/>
            </a:bodyPr>
            <a:lstStyle/>
            <a:p>
              <a:r>
                <a:rPr lang="en-US" sz="1400" dirty="0"/>
                <a:t>2022 (n = 106)</a:t>
              </a:r>
            </a:p>
          </p:txBody>
        </p:sp>
        <p:sp>
          <p:nvSpPr>
            <p:cNvPr id="27" name="Rectangle 26">
              <a:extLst>
                <a:ext uri="{FF2B5EF4-FFF2-40B4-BE49-F238E27FC236}">
                  <a16:creationId xmlns:a16="http://schemas.microsoft.com/office/drawing/2014/main" id="{17FA7DFC-4007-8AF2-5980-865803B70997}"/>
                </a:ext>
              </a:extLst>
            </p:cNvPr>
            <p:cNvSpPr/>
            <p:nvPr/>
          </p:nvSpPr>
          <p:spPr>
            <a:xfrm>
              <a:off x="5844127" y="1735570"/>
              <a:ext cx="162174" cy="162174"/>
            </a:xfrm>
            <a:prstGeom prst="rect">
              <a:avLst/>
            </a:prstGeom>
            <a:solidFill>
              <a:srgbClr val="91D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28" name="TextBox 27">
              <a:extLst>
                <a:ext uri="{FF2B5EF4-FFF2-40B4-BE49-F238E27FC236}">
                  <a16:creationId xmlns:a16="http://schemas.microsoft.com/office/drawing/2014/main" id="{8D6AA4D9-95F3-9E78-A8DC-E3B6FA600965}"/>
                </a:ext>
              </a:extLst>
            </p:cNvPr>
            <p:cNvSpPr txBox="1"/>
            <p:nvPr/>
          </p:nvSpPr>
          <p:spPr>
            <a:xfrm>
              <a:off x="6027007" y="1708935"/>
              <a:ext cx="1399231" cy="215444"/>
            </a:xfrm>
            <a:prstGeom prst="rect">
              <a:avLst/>
            </a:prstGeom>
            <a:noFill/>
          </p:spPr>
          <p:txBody>
            <a:bodyPr wrap="square" lIns="91440" tIns="0" rIns="91440" bIns="0" rtlCol="0" anchor="ctr" anchorCtr="0">
              <a:spAutoFit/>
            </a:bodyPr>
            <a:lstStyle/>
            <a:p>
              <a:r>
                <a:rPr lang="en-US" sz="1400" dirty="0"/>
                <a:t>2023 (n = 57)</a:t>
              </a:r>
            </a:p>
          </p:txBody>
        </p:sp>
      </p:grpSp>
      <p:grpSp>
        <p:nvGrpSpPr>
          <p:cNvPr id="35" name="Google Shape;368;p7">
            <a:extLst>
              <a:ext uri="{FF2B5EF4-FFF2-40B4-BE49-F238E27FC236}">
                <a16:creationId xmlns:a16="http://schemas.microsoft.com/office/drawing/2014/main" id="{050AF245-7F1D-A236-ED7E-527BB7C8AD41}"/>
              </a:ext>
            </a:extLst>
          </p:cNvPr>
          <p:cNvGrpSpPr/>
          <p:nvPr/>
        </p:nvGrpSpPr>
        <p:grpSpPr>
          <a:xfrm rot="5400000">
            <a:off x="5232195" y="6126"/>
            <a:ext cx="508420" cy="5074910"/>
            <a:chOff x="11474450" y="2673408"/>
            <a:chExt cx="257686" cy="553968"/>
          </a:xfrm>
        </p:grpSpPr>
        <p:cxnSp>
          <p:nvCxnSpPr>
            <p:cNvPr id="36" name="Google Shape;369;p7">
              <a:extLst>
                <a:ext uri="{FF2B5EF4-FFF2-40B4-BE49-F238E27FC236}">
                  <a16:creationId xmlns:a16="http://schemas.microsoft.com/office/drawing/2014/main" id="{70269053-24F7-749B-597E-A6DD5C88E56A}"/>
                </a:ext>
              </a:extLst>
            </p:cNvPr>
            <p:cNvCxnSpPr/>
            <p:nvPr/>
          </p:nvCxnSpPr>
          <p:spPr>
            <a:xfrm>
              <a:off x="11732137" y="2673408"/>
              <a:ext cx="0" cy="553968"/>
            </a:xfrm>
            <a:prstGeom prst="straightConnector1">
              <a:avLst/>
            </a:prstGeom>
            <a:noFill/>
            <a:ln w="25400" cap="flat" cmpd="sng">
              <a:solidFill>
                <a:srgbClr val="FF540A"/>
              </a:solidFill>
              <a:prstDash val="solid"/>
              <a:round/>
              <a:headEnd type="none" w="sm" len="sm"/>
              <a:tailEnd type="none" w="sm" len="sm"/>
            </a:ln>
          </p:spPr>
        </p:cxnSp>
        <p:cxnSp>
          <p:nvCxnSpPr>
            <p:cNvPr id="37" name="Google Shape;370;p7">
              <a:extLst>
                <a:ext uri="{FF2B5EF4-FFF2-40B4-BE49-F238E27FC236}">
                  <a16:creationId xmlns:a16="http://schemas.microsoft.com/office/drawing/2014/main" id="{01AB75DA-0AC3-E8D5-D968-06A4DBF95EA9}"/>
                </a:ext>
              </a:extLst>
            </p:cNvPr>
            <p:cNvCxnSpPr/>
            <p:nvPr/>
          </p:nvCxnSpPr>
          <p:spPr>
            <a:xfrm rot="10800000">
              <a:off x="11474450" y="2947891"/>
              <a:ext cx="257302" cy="0"/>
            </a:xfrm>
            <a:prstGeom prst="straightConnector1">
              <a:avLst/>
            </a:prstGeom>
            <a:noFill/>
            <a:ln w="25400" cap="flat" cmpd="sng">
              <a:solidFill>
                <a:srgbClr val="FF540A"/>
              </a:solidFill>
              <a:prstDash val="solid"/>
              <a:round/>
              <a:headEnd type="none" w="sm" len="sm"/>
              <a:tailEnd type="none" w="sm" len="sm"/>
            </a:ln>
          </p:spPr>
        </p:cxnSp>
      </p:grpSp>
      <p:grpSp>
        <p:nvGrpSpPr>
          <p:cNvPr id="38" name="Google Shape;368;p7">
            <a:extLst>
              <a:ext uri="{FF2B5EF4-FFF2-40B4-BE49-F238E27FC236}">
                <a16:creationId xmlns:a16="http://schemas.microsoft.com/office/drawing/2014/main" id="{F72EC156-EF22-2A69-96BA-8ACBEBE74DA5}"/>
              </a:ext>
            </a:extLst>
          </p:cNvPr>
          <p:cNvGrpSpPr/>
          <p:nvPr/>
        </p:nvGrpSpPr>
        <p:grpSpPr>
          <a:xfrm rot="5400000">
            <a:off x="8802814" y="1820629"/>
            <a:ext cx="491370" cy="1462953"/>
            <a:chOff x="11474450" y="2673408"/>
            <a:chExt cx="257686" cy="553968"/>
          </a:xfrm>
        </p:grpSpPr>
        <p:cxnSp>
          <p:nvCxnSpPr>
            <p:cNvPr id="39" name="Google Shape;369;p7">
              <a:extLst>
                <a:ext uri="{FF2B5EF4-FFF2-40B4-BE49-F238E27FC236}">
                  <a16:creationId xmlns:a16="http://schemas.microsoft.com/office/drawing/2014/main" id="{3434DBA1-8BE2-B965-3CE7-00D3B5CE0307}"/>
                </a:ext>
              </a:extLst>
            </p:cNvPr>
            <p:cNvCxnSpPr/>
            <p:nvPr/>
          </p:nvCxnSpPr>
          <p:spPr>
            <a:xfrm>
              <a:off x="11732137" y="2673408"/>
              <a:ext cx="0" cy="553968"/>
            </a:xfrm>
            <a:prstGeom prst="straightConnector1">
              <a:avLst/>
            </a:prstGeom>
            <a:noFill/>
            <a:ln w="25400" cap="flat" cmpd="sng">
              <a:solidFill>
                <a:srgbClr val="FF540A"/>
              </a:solidFill>
              <a:prstDash val="solid"/>
              <a:round/>
              <a:headEnd type="none" w="sm" len="sm"/>
              <a:tailEnd type="none" w="sm" len="sm"/>
            </a:ln>
          </p:spPr>
        </p:cxnSp>
        <p:cxnSp>
          <p:nvCxnSpPr>
            <p:cNvPr id="40" name="Google Shape;370;p7">
              <a:extLst>
                <a:ext uri="{FF2B5EF4-FFF2-40B4-BE49-F238E27FC236}">
                  <a16:creationId xmlns:a16="http://schemas.microsoft.com/office/drawing/2014/main" id="{8B85F481-21C0-5CF4-0913-808D20014158}"/>
                </a:ext>
              </a:extLst>
            </p:cNvPr>
            <p:cNvCxnSpPr/>
            <p:nvPr/>
          </p:nvCxnSpPr>
          <p:spPr>
            <a:xfrm rot="10800000">
              <a:off x="11474450" y="2947891"/>
              <a:ext cx="257302" cy="0"/>
            </a:xfrm>
            <a:prstGeom prst="straightConnector1">
              <a:avLst/>
            </a:prstGeom>
            <a:noFill/>
            <a:ln w="25400" cap="flat" cmpd="sng">
              <a:solidFill>
                <a:srgbClr val="FF540A"/>
              </a:solidFill>
              <a:prstDash val="solid"/>
              <a:round/>
              <a:headEnd type="none" w="sm" len="sm"/>
              <a:tailEnd type="none" w="sm" len="sm"/>
            </a:ln>
          </p:spPr>
        </p:cxnSp>
      </p:grpSp>
      <p:sp>
        <p:nvSpPr>
          <p:cNvPr id="32" name="Google Shape;366;p7">
            <a:extLst>
              <a:ext uri="{FF2B5EF4-FFF2-40B4-BE49-F238E27FC236}">
                <a16:creationId xmlns:a16="http://schemas.microsoft.com/office/drawing/2014/main" id="{2FC1DBF6-F0D6-0883-7E50-4D7356480C99}"/>
              </a:ext>
            </a:extLst>
          </p:cNvPr>
          <p:cNvSpPr/>
          <p:nvPr/>
        </p:nvSpPr>
        <p:spPr>
          <a:xfrm>
            <a:off x="3395225" y="2194046"/>
            <a:ext cx="3737096" cy="430857"/>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solidFill>
            <a:schemeClr val="lt1"/>
          </a:solidFill>
          <a:ln w="25400" cap="flat" cmpd="sng">
            <a:solidFill>
              <a:srgbClr val="FF540A"/>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Fewer MSEs at lower levels of maturity</a:t>
            </a:r>
          </a:p>
        </p:txBody>
      </p:sp>
      <p:sp>
        <p:nvSpPr>
          <p:cNvPr id="34" name="Google Shape;366;p7">
            <a:extLst>
              <a:ext uri="{FF2B5EF4-FFF2-40B4-BE49-F238E27FC236}">
                <a16:creationId xmlns:a16="http://schemas.microsoft.com/office/drawing/2014/main" id="{0FBA7B97-4B9A-EAC4-5B47-995A651184F4}"/>
              </a:ext>
            </a:extLst>
          </p:cNvPr>
          <p:cNvSpPr/>
          <p:nvPr/>
        </p:nvSpPr>
        <p:spPr>
          <a:xfrm>
            <a:off x="8305299" y="1947825"/>
            <a:ext cx="2558360" cy="677078"/>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solidFill>
            <a:schemeClr val="lt1"/>
          </a:solidFill>
          <a:ln w="25400" cap="flat" cmpd="sng">
            <a:solidFill>
              <a:srgbClr val="FF540A"/>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Sharp increase in MSEs at higher levels of maturity</a:t>
            </a:r>
          </a:p>
        </p:txBody>
      </p:sp>
    </p:spTree>
    <p:custDataLst>
      <p:tags r:id="rId1"/>
    </p:custDataLst>
    <p:extLst>
      <p:ext uri="{BB962C8B-B14F-4D97-AF65-F5344CB8AC3E}">
        <p14:creationId xmlns:p14="http://schemas.microsoft.com/office/powerpoint/2010/main" val="4146533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SORT(R2C2){descending=true} DBR DEL(R2:LASTC2){val=&quot;-&quot; .or. val=”0%”}">
            <a:extLst>
              <a:ext uri="{FF2B5EF4-FFF2-40B4-BE49-F238E27FC236}">
                <a16:creationId xmlns:a16="http://schemas.microsoft.com/office/drawing/2014/main" id="{C6DA1A29-586C-4C9E-A744-52D04CD6840D}"/>
              </a:ext>
            </a:extLst>
          </p:cNvPr>
          <p:cNvGraphicFramePr/>
          <p:nvPr>
            <p:extLst>
              <p:ext uri="{D42A27DB-BD31-4B8C-83A1-F6EECF244321}">
                <p14:modId xmlns:p14="http://schemas.microsoft.com/office/powerpoint/2010/main" val="1573116341"/>
              </p:ext>
            </p:extLst>
          </p:nvPr>
        </p:nvGraphicFramePr>
        <p:xfrm>
          <a:off x="457199" y="1524000"/>
          <a:ext cx="9634251" cy="387096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BFCB67BC-3DE0-B096-7627-DB18BB8D325B}"/>
              </a:ext>
            </a:extLst>
          </p:cNvPr>
          <p:cNvSpPr txBox="1"/>
          <p:nvPr/>
        </p:nvSpPr>
        <p:spPr>
          <a:xfrm>
            <a:off x="457200" y="5374770"/>
            <a:ext cx="10002590" cy="984885"/>
          </a:xfrm>
          <a:prstGeom prst="rect">
            <a:avLst/>
          </a:prstGeom>
          <a:noFill/>
        </p:spPr>
        <p:txBody>
          <a:bodyPr wrap="square" lIns="0" tIns="91440" rIns="91440" bIns="91440" rtlCol="0" anchor="b">
            <a:spAutoFit/>
          </a:bodyPr>
          <a:lstStyle/>
          <a:p>
            <a:r>
              <a:rPr lang="en-US" sz="1400" dirty="0">
                <a:solidFill>
                  <a:prstClr val="black"/>
                </a:solidFill>
              </a:rPr>
              <a:t>n varies; MSE Nonexecutive Board of Directors</a:t>
            </a:r>
          </a:p>
          <a:p>
            <a:r>
              <a:rPr lang="en-US" sz="1200" dirty="0">
                <a:solidFill>
                  <a:prstClr val="black">
                    <a:lumMod val="50000"/>
                    <a:lumOff val="50000"/>
                  </a:prstClr>
                </a:solidFill>
                <a:cs typeface="Arial" panose="020B0604020202020204" pitchFamily="34" charset="0"/>
              </a:rPr>
              <a:t>Q: Please tell us about your organization's top five strategic business priorities for the next two years (2023/2024).</a:t>
            </a:r>
          </a:p>
          <a:p>
            <a:r>
              <a:rPr lang="en-US" sz="1200" dirty="0">
                <a:solidFill>
                  <a:prstClr val="black">
                    <a:lumMod val="50000"/>
                    <a:lumOff val="50000"/>
                  </a:prstClr>
                </a:solidFill>
                <a:cs typeface="Arial" panose="020B0604020202020204" pitchFamily="34" charset="0"/>
              </a:rPr>
              <a:t>Source: 2023 Gartner Board of Directors Survey on Business Strategy in an Uncertain World</a:t>
            </a:r>
          </a:p>
          <a:p>
            <a:r>
              <a:rPr lang="en-US" sz="1200" dirty="0">
                <a:solidFill>
                  <a:prstClr val="black">
                    <a:lumMod val="50000"/>
                    <a:lumOff val="50000"/>
                  </a:prstClr>
                </a:solidFill>
                <a:cs typeface="Arial" panose="020B0604020202020204" pitchFamily="34" charset="0"/>
              </a:rPr>
              <a:t>Note: Showing top five only</a:t>
            </a:r>
          </a:p>
        </p:txBody>
      </p:sp>
      <p:sp>
        <p:nvSpPr>
          <p:cNvPr id="10" name="Rectangle 9">
            <a:extLst>
              <a:ext uri="{FF2B5EF4-FFF2-40B4-BE49-F238E27FC236}">
                <a16:creationId xmlns:a16="http://schemas.microsoft.com/office/drawing/2014/main" id="{F87BFBE0-CF7C-20E6-F10D-5CF323F440D7}"/>
              </a:ext>
            </a:extLst>
          </p:cNvPr>
          <p:cNvSpPr/>
          <p:nvPr/>
        </p:nvSpPr>
        <p:spPr>
          <a:xfrm>
            <a:off x="457199" y="2299081"/>
            <a:ext cx="9435947" cy="686489"/>
          </a:xfrm>
          <a:prstGeom prst="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Title 5">
            <a:extLst>
              <a:ext uri="{FF2B5EF4-FFF2-40B4-BE49-F238E27FC236}">
                <a16:creationId xmlns:a16="http://schemas.microsoft.com/office/drawing/2014/main" id="{87BA1750-CE50-D867-8722-4A67C07EC428}"/>
              </a:ext>
            </a:extLst>
          </p:cNvPr>
          <p:cNvSpPr>
            <a:spLocks noGrp="1"/>
          </p:cNvSpPr>
          <p:nvPr>
            <p:ph type="title"/>
          </p:nvPr>
        </p:nvSpPr>
        <p:spPr/>
        <p:txBody>
          <a:bodyPr/>
          <a:lstStyle/>
          <a:p>
            <a:r>
              <a:rPr lang="en-US" dirty="0"/>
              <a:t>Workforce Issues Are Still Commanding Attention</a:t>
            </a:r>
          </a:p>
        </p:txBody>
      </p:sp>
      <p:sp>
        <p:nvSpPr>
          <p:cNvPr id="12" name="Text Placeholder 11">
            <a:extLst>
              <a:ext uri="{FF2B5EF4-FFF2-40B4-BE49-F238E27FC236}">
                <a16:creationId xmlns:a16="http://schemas.microsoft.com/office/drawing/2014/main" id="{42BD4841-C30E-4F58-1299-2BCB80F487FE}"/>
              </a:ext>
            </a:extLst>
          </p:cNvPr>
          <p:cNvSpPr>
            <a:spLocks noGrp="1"/>
          </p:cNvSpPr>
          <p:nvPr>
            <p:ph type="body" sz="quarter" idx="10"/>
          </p:nvPr>
        </p:nvSpPr>
        <p:spPr/>
        <p:txBody>
          <a:bodyPr/>
          <a:lstStyle/>
          <a:p>
            <a:r>
              <a:rPr lang="en-US" dirty="0"/>
              <a:t>Top Five Strategic Business Priorities, Compared With Last Year Survey</a:t>
            </a:r>
          </a:p>
        </p:txBody>
      </p:sp>
      <p:sp>
        <p:nvSpPr>
          <p:cNvPr id="15" name="Text Placeholder 14">
            <a:extLst>
              <a:ext uri="{FF2B5EF4-FFF2-40B4-BE49-F238E27FC236}">
                <a16:creationId xmlns:a16="http://schemas.microsoft.com/office/drawing/2014/main" id="{FA39CBAF-7771-8587-3097-1AC4E498A869}"/>
              </a:ext>
            </a:extLst>
          </p:cNvPr>
          <p:cNvSpPr>
            <a:spLocks noGrp="1"/>
          </p:cNvSpPr>
          <p:nvPr>
            <p:ph type="body" sz="quarter" idx="11"/>
          </p:nvPr>
        </p:nvSpPr>
        <p:spPr/>
        <p:txBody>
          <a:bodyPr/>
          <a:lstStyle/>
          <a:p>
            <a:r>
              <a:rPr lang="en-US" dirty="0"/>
              <a:t>Sum of Top Five, Coded Multiple Responses</a:t>
            </a:r>
          </a:p>
        </p:txBody>
      </p:sp>
      <p:sp>
        <p:nvSpPr>
          <p:cNvPr id="18" name="TextBox 17">
            <a:extLst>
              <a:ext uri="{FF2B5EF4-FFF2-40B4-BE49-F238E27FC236}">
                <a16:creationId xmlns:a16="http://schemas.microsoft.com/office/drawing/2014/main" id="{39FC729B-B5BA-78FB-BC91-740BC5B7F4B3}"/>
              </a:ext>
            </a:extLst>
          </p:cNvPr>
          <p:cNvSpPr txBox="1"/>
          <p:nvPr/>
        </p:nvSpPr>
        <p:spPr>
          <a:xfrm>
            <a:off x="10340919" y="1693151"/>
            <a:ext cx="1401995" cy="547401"/>
          </a:xfrm>
          <a:prstGeom prst="rect">
            <a:avLst/>
          </a:prstGeom>
          <a:noFill/>
        </p:spPr>
        <p:txBody>
          <a:bodyPr wrap="square" lIns="182880" tIns="0" rIns="0" bIns="0" rtlCol="0">
            <a:noAutofit/>
          </a:bodyPr>
          <a:lstStyle/>
          <a:p>
            <a:pPr>
              <a:spcAft>
                <a:spcPts val="600"/>
              </a:spcAft>
            </a:pPr>
            <a:r>
              <a:rPr lang="en-US" sz="1400" dirty="0">
                <a:solidFill>
                  <a:schemeClr val="dk1"/>
                </a:solidFill>
                <a:ea typeface="Arial"/>
                <a:cs typeface="Arial"/>
                <a:sym typeface="Arial"/>
              </a:rPr>
              <a:t>2023 (n = 57)</a:t>
            </a:r>
          </a:p>
          <a:p>
            <a:pPr>
              <a:spcAft>
                <a:spcPts val="600"/>
              </a:spcAft>
            </a:pPr>
            <a:r>
              <a:rPr lang="en-US" sz="1400" dirty="0">
                <a:solidFill>
                  <a:schemeClr val="dk1"/>
                </a:solidFill>
                <a:cs typeface="Arial"/>
                <a:sym typeface="Arial"/>
              </a:rPr>
              <a:t>2022 (n = 105)</a:t>
            </a:r>
          </a:p>
        </p:txBody>
      </p:sp>
      <p:sp>
        <p:nvSpPr>
          <p:cNvPr id="19" name="Rectangle 18">
            <a:extLst>
              <a:ext uri="{FF2B5EF4-FFF2-40B4-BE49-F238E27FC236}">
                <a16:creationId xmlns:a16="http://schemas.microsoft.com/office/drawing/2014/main" id="{F459B8D6-E041-854D-3E90-70FEF7588517}"/>
              </a:ext>
            </a:extLst>
          </p:cNvPr>
          <p:cNvSpPr/>
          <p:nvPr/>
        </p:nvSpPr>
        <p:spPr>
          <a:xfrm>
            <a:off x="10340918" y="2030241"/>
            <a:ext cx="118872" cy="118872"/>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19">
            <a:extLst>
              <a:ext uri="{FF2B5EF4-FFF2-40B4-BE49-F238E27FC236}">
                <a16:creationId xmlns:a16="http://schemas.microsoft.com/office/drawing/2014/main" id="{8ADFFB1D-3F32-D5DF-DCDF-B5901AF630D9}"/>
              </a:ext>
            </a:extLst>
          </p:cNvPr>
          <p:cNvSpPr/>
          <p:nvPr/>
        </p:nvSpPr>
        <p:spPr>
          <a:xfrm>
            <a:off x="10340918" y="1733847"/>
            <a:ext cx="118872" cy="11887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custDataLst>
      <p:tags r:id="rId1"/>
    </p:custDataLst>
    <p:extLst>
      <p:ext uri="{BB962C8B-B14F-4D97-AF65-F5344CB8AC3E}">
        <p14:creationId xmlns:p14="http://schemas.microsoft.com/office/powerpoint/2010/main" val="35375505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C578D3-EFB5-1E44-B6D2-331853175CFF}"/>
              </a:ext>
            </a:extLst>
          </p:cNvPr>
          <p:cNvSpPr/>
          <p:nvPr/>
        </p:nvSpPr>
        <p:spPr>
          <a:xfrm>
            <a:off x="320040" y="1908845"/>
            <a:ext cx="11521440" cy="502920"/>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 name="Title 2">
            <a:extLst>
              <a:ext uri="{FF2B5EF4-FFF2-40B4-BE49-F238E27FC236}">
                <a16:creationId xmlns:a16="http://schemas.microsoft.com/office/drawing/2014/main" id="{14392A92-09FA-4DDB-B46F-2E85AD7AD341}"/>
              </a:ext>
            </a:extLst>
          </p:cNvPr>
          <p:cNvSpPr>
            <a:spLocks noGrp="1"/>
          </p:cNvSpPr>
          <p:nvPr>
            <p:ph type="title"/>
          </p:nvPr>
        </p:nvSpPr>
        <p:spPr/>
        <p:txBody>
          <a:bodyPr/>
          <a:lstStyle/>
          <a:p>
            <a:r>
              <a:rPr lang="en-US" b="1" dirty="0"/>
              <a:t>Key Issues</a:t>
            </a:r>
            <a:endParaRPr lang="en-US" dirty="0"/>
          </a:p>
        </p:txBody>
      </p:sp>
      <p:sp>
        <p:nvSpPr>
          <p:cNvPr id="4" name="Content Placeholder 3">
            <a:extLst>
              <a:ext uri="{FF2B5EF4-FFF2-40B4-BE49-F238E27FC236}">
                <a16:creationId xmlns:a16="http://schemas.microsoft.com/office/drawing/2014/main" id="{FF80A4E5-7031-4093-AF50-DCEEADE7AF03}"/>
              </a:ext>
            </a:extLst>
          </p:cNvPr>
          <p:cNvSpPr>
            <a:spLocks noGrp="1"/>
          </p:cNvSpPr>
          <p:nvPr>
            <p:ph sz="quarter" idx="10"/>
          </p:nvPr>
        </p:nvSpPr>
        <p:spPr/>
        <p:txBody>
          <a:bodyPr/>
          <a:lstStyle/>
          <a:p>
            <a:pPr lvl="0"/>
            <a:r>
              <a:rPr lang="en-US" dirty="0">
                <a:solidFill>
                  <a:srgbClr val="6F7878"/>
                </a:solidFill>
              </a:rPr>
              <a:t>What are the major trends affecting CIOs in midsize enterprises?</a:t>
            </a:r>
          </a:p>
          <a:p>
            <a:pPr lvl="0"/>
            <a:r>
              <a:rPr lang="en-US" dirty="0">
                <a:solidFill>
                  <a:schemeClr val="bg1"/>
                </a:solidFill>
              </a:rPr>
              <a:t>What are the top challenges for CIOs in midsize enterprises?</a:t>
            </a:r>
          </a:p>
          <a:p>
            <a:pPr lvl="0"/>
            <a:r>
              <a:rPr lang="en-US" dirty="0">
                <a:solidFill>
                  <a:srgbClr val="6F7878"/>
                </a:solidFill>
              </a:rPr>
              <a:t>What actions should a midsize enterprise CIO take to address these challenges?</a:t>
            </a:r>
          </a:p>
        </p:txBody>
      </p:sp>
    </p:spTree>
    <p:extLst>
      <p:ext uri="{BB962C8B-B14F-4D97-AF65-F5344CB8AC3E}">
        <p14:creationId xmlns:p14="http://schemas.microsoft.com/office/powerpoint/2010/main" val="4202173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31"/>
        <p:cNvGrpSpPr/>
        <p:nvPr/>
      </p:nvGrpSpPr>
      <p:grpSpPr>
        <a:xfrm>
          <a:off x="0" y="0"/>
          <a:ext cx="0" cy="0"/>
          <a:chOff x="0" y="0"/>
          <a:chExt cx="0" cy="0"/>
        </a:xfrm>
      </p:grpSpPr>
      <p:graphicFrame>
        <p:nvGraphicFramePr>
          <p:cNvPr id="433" name="PPRChart Full"/>
          <p:cNvGraphicFramePr/>
          <p:nvPr>
            <p:extLst>
              <p:ext uri="{D42A27DB-BD31-4B8C-83A1-F6EECF244321}">
                <p14:modId xmlns:p14="http://schemas.microsoft.com/office/powerpoint/2010/main" val="2406507609"/>
              </p:ext>
            </p:extLst>
          </p:nvPr>
        </p:nvGraphicFramePr>
        <p:xfrm>
          <a:off x="1533481" y="2548528"/>
          <a:ext cx="2627675" cy="2615311"/>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7">
            <a:extLst>
              <a:ext uri="{FF2B5EF4-FFF2-40B4-BE49-F238E27FC236}">
                <a16:creationId xmlns:a16="http://schemas.microsoft.com/office/drawing/2014/main" id="{BA82E034-9ECA-6E46-ADDD-8AE997074B27}"/>
              </a:ext>
            </a:extLst>
          </p:cNvPr>
          <p:cNvSpPr>
            <a:spLocks noGrp="1"/>
          </p:cNvSpPr>
          <p:nvPr>
            <p:ph type="title"/>
          </p:nvPr>
        </p:nvSpPr>
        <p:spPr>
          <a:xfrm>
            <a:off x="457200" y="361950"/>
            <a:ext cx="11285714" cy="451231"/>
          </a:xfrm>
        </p:spPr>
        <p:txBody>
          <a:bodyPr/>
          <a:lstStyle/>
          <a:p>
            <a:r>
              <a:rPr lang="en-US" dirty="0"/>
              <a:t>Economic Uncertainty and Recession Concerns Loom Large</a:t>
            </a:r>
          </a:p>
        </p:txBody>
      </p:sp>
      <p:sp>
        <p:nvSpPr>
          <p:cNvPr id="9" name="Text Placeholder 8">
            <a:extLst>
              <a:ext uri="{FF2B5EF4-FFF2-40B4-BE49-F238E27FC236}">
                <a16:creationId xmlns:a16="http://schemas.microsoft.com/office/drawing/2014/main" id="{56E714A7-A9EE-7DD9-782B-83053AB710CA}"/>
              </a:ext>
            </a:extLst>
          </p:cNvPr>
          <p:cNvSpPr>
            <a:spLocks noGrp="1"/>
          </p:cNvSpPr>
          <p:nvPr>
            <p:ph type="body" sz="quarter" idx="10"/>
          </p:nvPr>
        </p:nvSpPr>
        <p:spPr>
          <a:xfrm>
            <a:off x="468489" y="1367295"/>
            <a:ext cx="11274425" cy="247580"/>
          </a:xfrm>
        </p:spPr>
        <p:txBody>
          <a:bodyPr/>
          <a:lstStyle/>
          <a:p>
            <a:r>
              <a:rPr lang="en-US" dirty="0"/>
              <a:t>Financial Institutions Forecasting a Recession</a:t>
            </a:r>
          </a:p>
        </p:txBody>
      </p:sp>
      <p:sp>
        <p:nvSpPr>
          <p:cNvPr id="10" name="Text Placeholder 9">
            <a:extLst>
              <a:ext uri="{FF2B5EF4-FFF2-40B4-BE49-F238E27FC236}">
                <a16:creationId xmlns:a16="http://schemas.microsoft.com/office/drawing/2014/main" id="{F945DE56-4ED2-E04F-84FD-8BBC6DF7E572}"/>
              </a:ext>
            </a:extLst>
          </p:cNvPr>
          <p:cNvSpPr>
            <a:spLocks noGrp="1"/>
          </p:cNvSpPr>
          <p:nvPr>
            <p:ph type="body" sz="quarter" idx="11"/>
          </p:nvPr>
        </p:nvSpPr>
        <p:spPr>
          <a:xfrm>
            <a:off x="468489" y="1648470"/>
            <a:ext cx="11274425" cy="247580"/>
          </a:xfrm>
        </p:spPr>
        <p:txBody>
          <a:bodyPr/>
          <a:lstStyle/>
          <a:p>
            <a:r>
              <a:rPr lang="en-US" dirty="0"/>
              <a:t>Percentage of Senior Financial Services Executives</a:t>
            </a:r>
          </a:p>
        </p:txBody>
      </p:sp>
      <p:sp>
        <p:nvSpPr>
          <p:cNvPr id="14" name="TextBox 13">
            <a:extLst>
              <a:ext uri="{FF2B5EF4-FFF2-40B4-BE49-F238E27FC236}">
                <a16:creationId xmlns:a16="http://schemas.microsoft.com/office/drawing/2014/main" id="{41D098EC-01CD-E6A9-8FAD-9D6B5C2C3423}"/>
              </a:ext>
            </a:extLst>
          </p:cNvPr>
          <p:cNvSpPr txBox="1"/>
          <p:nvPr/>
        </p:nvSpPr>
        <p:spPr>
          <a:xfrm>
            <a:off x="1348186" y="2453269"/>
            <a:ext cx="643473" cy="492443"/>
          </a:xfrm>
          <a:prstGeom prst="rect">
            <a:avLst/>
          </a:prstGeom>
        </p:spPr>
        <p:txBody>
          <a:bodyPr wrap="square" lIns="0" tIns="0" rIns="0" bIns="0" anchor="t" anchorCtr="0">
            <a:spAutoFit/>
          </a:bodyPr>
          <a:lstStyle/>
          <a:p>
            <a:pPr algn="r"/>
            <a:r>
              <a:rPr lang="en-US" sz="1600" b="1" dirty="0">
                <a:solidFill>
                  <a:srgbClr val="000000"/>
                </a:solidFill>
              </a:rPr>
              <a:t>20%</a:t>
            </a:r>
          </a:p>
          <a:p>
            <a:pPr algn="r"/>
            <a:r>
              <a:rPr lang="en-US" sz="1600" dirty="0">
                <a:solidFill>
                  <a:srgbClr val="000000"/>
                </a:solidFill>
              </a:rPr>
              <a:t>No</a:t>
            </a:r>
          </a:p>
        </p:txBody>
      </p:sp>
      <p:sp>
        <p:nvSpPr>
          <p:cNvPr id="15" name="TextBox 14">
            <a:extLst>
              <a:ext uri="{FF2B5EF4-FFF2-40B4-BE49-F238E27FC236}">
                <a16:creationId xmlns:a16="http://schemas.microsoft.com/office/drawing/2014/main" id="{AD5A4372-24E6-2880-0FF7-A2F26E7EB2EF}"/>
              </a:ext>
            </a:extLst>
          </p:cNvPr>
          <p:cNvSpPr txBox="1"/>
          <p:nvPr/>
        </p:nvSpPr>
        <p:spPr>
          <a:xfrm>
            <a:off x="2847318" y="2129843"/>
            <a:ext cx="2627675" cy="492443"/>
          </a:xfrm>
          <a:prstGeom prst="rect">
            <a:avLst/>
          </a:prstGeom>
        </p:spPr>
        <p:txBody>
          <a:bodyPr wrap="square" lIns="0" tIns="0" rIns="0" bIns="0" anchor="t" anchorCtr="0">
            <a:spAutoFit/>
          </a:bodyPr>
          <a:lstStyle/>
          <a:p>
            <a:r>
              <a:rPr lang="en-US" sz="1600" b="1" dirty="0">
                <a:solidFill>
                  <a:srgbClr val="000000"/>
                </a:solidFill>
              </a:rPr>
              <a:t>8%</a:t>
            </a:r>
          </a:p>
          <a:p>
            <a:r>
              <a:rPr lang="en-US" sz="1600" dirty="0">
                <a:solidFill>
                  <a:srgbClr val="000000"/>
                </a:solidFill>
              </a:rPr>
              <a:t>Yes — In the Next 3 Months</a:t>
            </a:r>
          </a:p>
        </p:txBody>
      </p:sp>
      <p:sp>
        <p:nvSpPr>
          <p:cNvPr id="16" name="TextBox 15">
            <a:extLst>
              <a:ext uri="{FF2B5EF4-FFF2-40B4-BE49-F238E27FC236}">
                <a16:creationId xmlns:a16="http://schemas.microsoft.com/office/drawing/2014/main" id="{90E2BBB3-C6FA-C416-3CA3-511FAF454FD7}"/>
              </a:ext>
            </a:extLst>
          </p:cNvPr>
          <p:cNvSpPr txBox="1"/>
          <p:nvPr/>
        </p:nvSpPr>
        <p:spPr>
          <a:xfrm>
            <a:off x="457200" y="4047816"/>
            <a:ext cx="1124758" cy="734097"/>
          </a:xfrm>
          <a:prstGeom prst="rect">
            <a:avLst/>
          </a:prstGeom>
        </p:spPr>
        <p:txBody>
          <a:bodyPr wrap="square" lIns="0" tIns="0" rIns="0" bIns="0" anchor="t" anchorCtr="0">
            <a:spAutoFit/>
          </a:bodyPr>
          <a:lstStyle/>
          <a:p>
            <a:pPr algn="r"/>
            <a:r>
              <a:rPr lang="en-US" sz="1600" b="1" dirty="0">
                <a:solidFill>
                  <a:srgbClr val="000000"/>
                </a:solidFill>
              </a:rPr>
              <a:t>35%</a:t>
            </a:r>
          </a:p>
          <a:p>
            <a:pPr algn="r"/>
            <a:r>
              <a:rPr lang="en-US" sz="1600" dirty="0">
                <a:solidFill>
                  <a:srgbClr val="000000"/>
                </a:solidFill>
              </a:rPr>
              <a:t>Don’t Know/</a:t>
            </a:r>
            <a:br>
              <a:rPr lang="en-US" sz="1600" dirty="0">
                <a:solidFill>
                  <a:srgbClr val="000000"/>
                </a:solidFill>
              </a:rPr>
            </a:br>
            <a:r>
              <a:rPr lang="en-US" sz="1600" dirty="0">
                <a:solidFill>
                  <a:srgbClr val="000000"/>
                </a:solidFill>
              </a:rPr>
              <a:t>Unsure</a:t>
            </a:r>
          </a:p>
        </p:txBody>
      </p:sp>
      <p:sp>
        <p:nvSpPr>
          <p:cNvPr id="18" name="TextBox 17">
            <a:extLst>
              <a:ext uri="{FF2B5EF4-FFF2-40B4-BE49-F238E27FC236}">
                <a16:creationId xmlns:a16="http://schemas.microsoft.com/office/drawing/2014/main" id="{5597E894-22BF-6BCE-3925-1EE1184F0E8E}"/>
              </a:ext>
            </a:extLst>
          </p:cNvPr>
          <p:cNvSpPr txBox="1"/>
          <p:nvPr/>
        </p:nvSpPr>
        <p:spPr>
          <a:xfrm>
            <a:off x="3502744" y="4934825"/>
            <a:ext cx="2159124" cy="492443"/>
          </a:xfrm>
          <a:prstGeom prst="rect">
            <a:avLst/>
          </a:prstGeom>
        </p:spPr>
        <p:txBody>
          <a:bodyPr wrap="square" lIns="0" tIns="0" rIns="0" bIns="0" anchor="t" anchorCtr="0">
            <a:spAutoFit/>
          </a:bodyPr>
          <a:lstStyle/>
          <a:p>
            <a:r>
              <a:rPr lang="en-US" sz="1600" b="1" dirty="0">
                <a:solidFill>
                  <a:srgbClr val="000000"/>
                </a:solidFill>
              </a:rPr>
              <a:t>6%</a:t>
            </a:r>
          </a:p>
          <a:p>
            <a:r>
              <a:rPr lang="en-US" sz="1600" dirty="0">
                <a:solidFill>
                  <a:srgbClr val="000000"/>
                </a:solidFill>
              </a:rPr>
              <a:t>Yes — In 12-18 Months</a:t>
            </a:r>
          </a:p>
        </p:txBody>
      </p:sp>
      <p:sp>
        <p:nvSpPr>
          <p:cNvPr id="19" name="TextBox 18">
            <a:extLst>
              <a:ext uri="{FF2B5EF4-FFF2-40B4-BE49-F238E27FC236}">
                <a16:creationId xmlns:a16="http://schemas.microsoft.com/office/drawing/2014/main" id="{5AD4B3F1-0C8D-B569-B3E2-7CD08F727B0C}"/>
              </a:ext>
            </a:extLst>
          </p:cNvPr>
          <p:cNvSpPr txBox="1"/>
          <p:nvPr/>
        </p:nvSpPr>
        <p:spPr>
          <a:xfrm>
            <a:off x="4161155" y="3588160"/>
            <a:ext cx="2159124" cy="492443"/>
          </a:xfrm>
          <a:prstGeom prst="rect">
            <a:avLst/>
          </a:prstGeom>
        </p:spPr>
        <p:txBody>
          <a:bodyPr wrap="square" lIns="0" tIns="0" rIns="0" bIns="0" anchor="t" anchorCtr="0">
            <a:spAutoFit/>
          </a:bodyPr>
          <a:lstStyle/>
          <a:p>
            <a:r>
              <a:rPr lang="en-US" sz="1600" b="1" dirty="0">
                <a:solidFill>
                  <a:srgbClr val="000000"/>
                </a:solidFill>
              </a:rPr>
              <a:t>31%</a:t>
            </a:r>
          </a:p>
          <a:p>
            <a:r>
              <a:rPr lang="en-US" sz="1600" dirty="0">
                <a:solidFill>
                  <a:srgbClr val="000000"/>
                </a:solidFill>
              </a:rPr>
              <a:t>Yes — In 3-12 Months</a:t>
            </a:r>
          </a:p>
        </p:txBody>
      </p:sp>
      <p:sp>
        <p:nvSpPr>
          <p:cNvPr id="20" name="TextBox 19">
            <a:extLst>
              <a:ext uri="{FF2B5EF4-FFF2-40B4-BE49-F238E27FC236}">
                <a16:creationId xmlns:a16="http://schemas.microsoft.com/office/drawing/2014/main" id="{7C9CAED9-ACEE-83F4-A1AE-E81366984757}"/>
              </a:ext>
            </a:extLst>
          </p:cNvPr>
          <p:cNvSpPr txBox="1"/>
          <p:nvPr/>
        </p:nvSpPr>
        <p:spPr>
          <a:xfrm>
            <a:off x="457200" y="5546182"/>
            <a:ext cx="10002590" cy="769441"/>
          </a:xfrm>
          <a:prstGeom prst="rect">
            <a:avLst/>
          </a:prstGeom>
          <a:noFill/>
        </p:spPr>
        <p:txBody>
          <a:bodyPr wrap="square" lIns="0" tIns="91440" rIns="91440" bIns="91440" rtlCol="0" anchor="b">
            <a:spAutoFit/>
          </a:bodyPr>
          <a:lstStyle/>
          <a:p>
            <a:r>
              <a:rPr lang="en-US" sz="1400" dirty="0">
                <a:solidFill>
                  <a:prstClr val="black"/>
                </a:solidFill>
              </a:rPr>
              <a:t>n = 80 Senior Financial Services Executives</a:t>
            </a:r>
          </a:p>
          <a:p>
            <a:r>
              <a:rPr lang="en-US" sz="1200" dirty="0">
                <a:solidFill>
                  <a:prstClr val="black">
                    <a:lumMod val="50000"/>
                    <a:lumOff val="50000"/>
                  </a:prstClr>
                </a:solidFill>
                <a:cs typeface="Arial" panose="020B0604020202020204" pitchFamily="34" charset="0"/>
              </a:rPr>
              <a:t>Q: Does your financial institution forecast a recession?</a:t>
            </a:r>
          </a:p>
          <a:p>
            <a:r>
              <a:rPr lang="en-US" sz="1200" dirty="0">
                <a:solidFill>
                  <a:prstClr val="black">
                    <a:lumMod val="50000"/>
                    <a:lumOff val="50000"/>
                  </a:prstClr>
                </a:solidFill>
                <a:cs typeface="Arial" panose="020B0604020202020204" pitchFamily="34" charset="0"/>
              </a:rPr>
              <a:t>Source: Gartner Financial Services Business Priority Tracker, August 2022</a:t>
            </a:r>
          </a:p>
        </p:txBody>
      </p:sp>
      <p:grpSp>
        <p:nvGrpSpPr>
          <p:cNvPr id="24" name="Google Shape;368;p7">
            <a:extLst>
              <a:ext uri="{FF2B5EF4-FFF2-40B4-BE49-F238E27FC236}">
                <a16:creationId xmlns:a16="http://schemas.microsoft.com/office/drawing/2014/main" id="{AC53A6F1-FF2C-6887-494D-98E29D897621}"/>
              </a:ext>
            </a:extLst>
          </p:cNvPr>
          <p:cNvGrpSpPr/>
          <p:nvPr/>
        </p:nvGrpSpPr>
        <p:grpSpPr>
          <a:xfrm rot="10800000">
            <a:off x="6344083" y="2613673"/>
            <a:ext cx="1921705" cy="2348351"/>
            <a:chOff x="11474450" y="2673408"/>
            <a:chExt cx="257686" cy="553968"/>
          </a:xfrm>
        </p:grpSpPr>
        <p:cxnSp>
          <p:nvCxnSpPr>
            <p:cNvPr id="25" name="Google Shape;369;p7">
              <a:extLst>
                <a:ext uri="{FF2B5EF4-FFF2-40B4-BE49-F238E27FC236}">
                  <a16:creationId xmlns:a16="http://schemas.microsoft.com/office/drawing/2014/main" id="{F8101E9A-9695-D5D9-9D19-958E732E8E29}"/>
                </a:ext>
              </a:extLst>
            </p:cNvPr>
            <p:cNvCxnSpPr/>
            <p:nvPr/>
          </p:nvCxnSpPr>
          <p:spPr>
            <a:xfrm>
              <a:off x="11732137" y="2673408"/>
              <a:ext cx="0" cy="553968"/>
            </a:xfrm>
            <a:prstGeom prst="straightConnector1">
              <a:avLst/>
            </a:prstGeom>
            <a:noFill/>
            <a:ln w="25400" cap="flat" cmpd="sng">
              <a:solidFill>
                <a:srgbClr val="009AD7"/>
              </a:solidFill>
              <a:prstDash val="solid"/>
              <a:round/>
              <a:headEnd type="none" w="sm" len="sm"/>
              <a:tailEnd type="none" w="sm" len="sm"/>
            </a:ln>
          </p:spPr>
        </p:cxnSp>
        <p:cxnSp>
          <p:nvCxnSpPr>
            <p:cNvPr id="26" name="Google Shape;370;p7">
              <a:extLst>
                <a:ext uri="{FF2B5EF4-FFF2-40B4-BE49-F238E27FC236}">
                  <a16:creationId xmlns:a16="http://schemas.microsoft.com/office/drawing/2014/main" id="{759CE67F-6300-C72C-A190-4DE6DC866F3B}"/>
                </a:ext>
              </a:extLst>
            </p:cNvPr>
            <p:cNvCxnSpPr/>
            <p:nvPr/>
          </p:nvCxnSpPr>
          <p:spPr>
            <a:xfrm rot="10800000">
              <a:off x="11474450" y="2947891"/>
              <a:ext cx="257302" cy="0"/>
            </a:xfrm>
            <a:prstGeom prst="straightConnector1">
              <a:avLst/>
            </a:prstGeom>
            <a:noFill/>
            <a:ln w="25400" cap="flat" cmpd="sng">
              <a:solidFill>
                <a:srgbClr val="009AD7"/>
              </a:solidFill>
              <a:prstDash val="solid"/>
              <a:round/>
              <a:headEnd type="none" w="sm" len="sm"/>
              <a:tailEnd type="none" w="sm" len="sm"/>
            </a:ln>
          </p:spPr>
        </p:cxnSp>
      </p:grpSp>
      <p:sp>
        <p:nvSpPr>
          <p:cNvPr id="23" name="Google Shape;366;p7">
            <a:extLst>
              <a:ext uri="{FF2B5EF4-FFF2-40B4-BE49-F238E27FC236}">
                <a16:creationId xmlns:a16="http://schemas.microsoft.com/office/drawing/2014/main" id="{B39C6305-80B5-9060-4965-B8402A19B967}"/>
              </a:ext>
            </a:extLst>
          </p:cNvPr>
          <p:cNvSpPr/>
          <p:nvPr/>
        </p:nvSpPr>
        <p:spPr>
          <a:xfrm>
            <a:off x="6640270" y="3164615"/>
            <a:ext cx="5102642" cy="1246465"/>
          </a:xfrm>
          <a:custGeom>
            <a:avLst/>
            <a:gdLst/>
            <a:ahLst/>
            <a:cxnLst/>
            <a:rect l="l" t="t" r="r" b="b"/>
            <a:pathLst>
              <a:path w="1242695" h="1253489" extrusionOk="0">
                <a:moveTo>
                  <a:pt x="0" y="1253489"/>
                </a:moveTo>
                <a:lnTo>
                  <a:pt x="1242250" y="1253489"/>
                </a:lnTo>
                <a:lnTo>
                  <a:pt x="1242250" y="0"/>
                </a:lnTo>
                <a:lnTo>
                  <a:pt x="0" y="0"/>
                </a:lnTo>
                <a:lnTo>
                  <a:pt x="0" y="1253489"/>
                </a:lnTo>
                <a:close/>
              </a:path>
            </a:pathLst>
          </a:custGeom>
          <a:solidFill>
            <a:schemeClr val="lt1"/>
          </a:solidFill>
          <a:ln w="25400" cap="flat" cmpd="sng">
            <a:solidFill>
              <a:srgbClr val="009AD7"/>
            </a:solidFill>
            <a:prstDash val="solid"/>
            <a:round/>
            <a:headEnd type="none" w="sm" len="sm"/>
            <a:tailEnd type="none" w="sm" len="sm"/>
          </a:ln>
        </p:spPr>
        <p:txBody>
          <a:bodyPr spcFirstLastPara="1" wrap="square" lIns="91425" tIns="91425" rIns="91425" bIns="91425" anchor="t" anchorCtr="0">
            <a:spAutoFit/>
          </a:bodyPr>
          <a:lstStyle/>
          <a:p>
            <a:pPr marL="0" marR="0" lvl="0" indent="0" algn="l" rtl="0">
              <a:lnSpc>
                <a:spcPct val="100000"/>
              </a:lnSpc>
              <a:spcBef>
                <a:spcPts val="0"/>
              </a:spcBef>
              <a:spcAft>
                <a:spcPts val="60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45% of C-suite financial services leaders are </a:t>
            </a:r>
            <a:r>
              <a:rPr lang="en-US" sz="1600" b="1" i="0" u="none" strike="noStrike" cap="none" dirty="0">
                <a:solidFill>
                  <a:srgbClr val="000000"/>
                </a:solidFill>
                <a:latin typeface="Arial"/>
                <a:ea typeface="Arial"/>
                <a:cs typeface="Arial"/>
                <a:sym typeface="Arial"/>
              </a:rPr>
              <a:t>anticipating a recession in the next 18 months. </a:t>
            </a:r>
          </a:p>
          <a:p>
            <a:pPr marL="0" marR="0" lvl="0" indent="0" algn="l" rtl="0">
              <a:lnSpc>
                <a:spcPct val="100000"/>
              </a:lnSpc>
              <a:spcBef>
                <a:spcPts val="0"/>
              </a:spcBef>
              <a:spcAft>
                <a:spcPts val="0"/>
              </a:spcAft>
              <a:buClr>
                <a:srgbClr val="000000"/>
              </a:buClr>
              <a:buSzPts val="1200"/>
              <a:buFont typeface="Arial"/>
              <a:buNone/>
            </a:pPr>
            <a:r>
              <a:rPr lang="en-US" sz="1600" b="0" i="0" u="none" strike="noStrike" cap="none" dirty="0">
                <a:solidFill>
                  <a:srgbClr val="000000"/>
                </a:solidFill>
                <a:latin typeface="Arial"/>
                <a:ea typeface="Arial"/>
                <a:cs typeface="Arial"/>
                <a:sym typeface="Arial"/>
              </a:rPr>
              <a:t>Recession expectations are deeper and broader than they were six months ago</a:t>
            </a:r>
            <a:r>
              <a:rPr lang="en-US" sz="1600" dirty="0">
                <a:solidFill>
                  <a:srgbClr val="000000"/>
                </a:solidFill>
                <a:latin typeface="Arial"/>
                <a:ea typeface="Arial"/>
                <a:cs typeface="Arial"/>
                <a:sym typeface="Arial"/>
              </a:rPr>
              <a:t>.</a:t>
            </a:r>
            <a:endParaRPr lang="en-US" sz="1600" b="0" i="0" u="none" strike="noStrike" cap="none" dirty="0">
              <a:solidFill>
                <a:srgbClr val="000000"/>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XCELFILE" val="C:\Users\dsatterf\Documents\Working\TEMP GRADS\Templates\Sample_Charts.xlsx"/>
  <p:tag name="CHARTSHEET" val="C_Bar"/>
  <p:tag name="DATASHEET" val="D_C_Bar"/>
  <p:tag name="CHARTNAME" val="C_Ba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bSOYWCooNpnDb3e.ZEYJg"/>
</p:tagLst>
</file>

<file path=ppt/tags/tag4.xml><?xml version="1.0" encoding="utf-8"?>
<p:tagLst xmlns:a="http://schemas.openxmlformats.org/drawingml/2006/main" xmlns:r="http://schemas.openxmlformats.org/officeDocument/2006/relationships" xmlns:p="http://schemas.openxmlformats.org/presentationml/2006/main">
  <p:tag name="EXCELFILE" val="C:\Users\dsatterf\Documents\Working\TEMP GRADS\Templates\Sample_Charts.xlsx"/>
  <p:tag name="CHARTSHEET" val="C_Bar"/>
  <p:tag name="DATASHEET" val="D_C_Bar"/>
  <p:tag name="CHARTNAME" val="C_Bar"/>
</p:tagLst>
</file>

<file path=ppt/tags/tag5.xml><?xml version="1.0" encoding="utf-8"?>
<p:tagLst xmlns:a="http://schemas.openxmlformats.org/drawingml/2006/main" xmlns:r="http://schemas.openxmlformats.org/officeDocument/2006/relationships" xmlns:p="http://schemas.openxmlformats.org/presentationml/2006/main">
  <p:tag name="EXCELFILE" val="C:\Users\dsatterf\Documents\Working\TEMP GRADS\Templates\Sample_Charts.xlsx"/>
  <p:tag name="CHARTSHEET" val="C_Bar"/>
  <p:tag name="DATASHEET" val="D_C_Bar"/>
  <p:tag name="CHARTNAME" val="C_Bar"/>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Leadership Vision for 2024[75].pptx  -  Read-Only" id="{C73900F3-1482-BF42-BA5D-841FFFED9F5F}" vid="{F0C60492-4217-B340-ACBD-6A6AE2C3F52D}"/>
    </a:ext>
  </a:extLst>
</a:theme>
</file>

<file path=ppt/theme/theme2.xml><?xml version="1.0" encoding="utf-8"?>
<a:theme xmlns:a="http://schemas.openxmlformats.org/drawingml/2006/main" name="Blu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Leadership Vision for 2024[75].pptx  -  Read-Only" id="{C73900F3-1482-BF42-BA5D-841FFFED9F5F}" vid="{88995CB7-8B46-4C4B-A259-6D81F33A9AB5}"/>
    </a:ext>
  </a:extLst>
</a:theme>
</file>

<file path=ppt/theme/theme3.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CB2D47C2417044592744777E3B7233F" ma:contentTypeVersion="13" ma:contentTypeDescription="Create a new document." ma:contentTypeScope="" ma:versionID="4c6957eadc169d16a1917d086ad09f4c">
  <xsd:schema xmlns:xsd="http://www.w3.org/2001/XMLSchema" xmlns:xs="http://www.w3.org/2001/XMLSchema" xmlns:p="http://schemas.microsoft.com/office/2006/metadata/properties" xmlns:ns3="5a09587d-5a88-4df1-bcd8-079a5744efd3" xmlns:ns4="a1ec4cb7-c268-4e3c-926d-ad5ee719fb25" targetNamespace="http://schemas.microsoft.com/office/2006/metadata/properties" ma:root="true" ma:fieldsID="ca861ccfc251c189ae468fe98b32e9d8" ns3:_="" ns4:_="">
    <xsd:import namespace="5a09587d-5a88-4df1-bcd8-079a5744efd3"/>
    <xsd:import namespace="a1ec4cb7-c268-4e3c-926d-ad5ee719fb2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09587d-5a88-4df1-bcd8-079a5744e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1ec4cb7-c268-4e3c-926d-ad5ee719fb2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29E15A7-49AB-4FDE-A8B2-8AA9673852F2}">
  <ds:schemaRefs>
    <ds:schemaRef ds:uri="http://schemas.microsoft.com/sharepoint/v3/contenttype/forms"/>
  </ds:schemaRefs>
</ds:datastoreItem>
</file>

<file path=customXml/itemProps2.xml><?xml version="1.0" encoding="utf-8"?>
<ds:datastoreItem xmlns:ds="http://schemas.openxmlformats.org/officeDocument/2006/customXml" ds:itemID="{63CCAAB5-FF07-4523-8FCB-19C64D774C52}">
  <ds:schemaRefs>
    <ds:schemaRef ds:uri="http://purl.org/dc/dcmitype/"/>
    <ds:schemaRef ds:uri="http://www.w3.org/XML/1998/namespace"/>
    <ds:schemaRef ds:uri="http://schemas.microsoft.com/office/2006/metadata/properties"/>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a1ec4cb7-c268-4e3c-926d-ad5ee719fb25"/>
    <ds:schemaRef ds:uri="5a09587d-5a88-4df1-bcd8-079a5744efd3"/>
  </ds:schemaRefs>
</ds:datastoreItem>
</file>

<file path=customXml/itemProps3.xml><?xml version="1.0" encoding="utf-8"?>
<ds:datastoreItem xmlns:ds="http://schemas.openxmlformats.org/officeDocument/2006/customXml" ds:itemID="{024C1462-3BF3-4598-8738-012DDC4360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09587d-5a88-4df1-bcd8-079a5744efd3"/>
    <ds:schemaRef ds:uri="a1ec4cb7-c268-4e3c-926d-ad5ee719fb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hite bkgrnd master</Template>
  <TotalTime>2002</TotalTime>
  <Words>6251</Words>
  <Application>Microsoft Office PowerPoint</Application>
  <PresentationFormat>Widescreen</PresentationFormat>
  <Paragraphs>379</Paragraphs>
  <Slides>21</Slides>
  <Notes>2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System Font Regular</vt:lpstr>
      <vt:lpstr>Arial</vt:lpstr>
      <vt:lpstr>Arial Black</vt:lpstr>
      <vt:lpstr>Wingdings 3</vt:lpstr>
      <vt:lpstr>White bkgrnd master</vt:lpstr>
      <vt:lpstr>Blue bkgrnd master</vt:lpstr>
      <vt:lpstr>think-cell Slide</vt:lpstr>
      <vt:lpstr>Leadership Vision for 2023: Midsize Enterprise CIO</vt:lpstr>
      <vt:lpstr>MSE IT Organization Fundamentals</vt:lpstr>
      <vt:lpstr>Growth and Corporate Initiatives Are Top Priorities for Midsize Enterprise CEOs</vt:lpstr>
      <vt:lpstr>Key Issues</vt:lpstr>
      <vt:lpstr>Money Continues to Be Available for Digital Investments</vt:lpstr>
      <vt:lpstr>Midsize Enterprises Are Becoming More Digitally Mature</vt:lpstr>
      <vt:lpstr>Workforce Issues Are Still Commanding Attention</vt:lpstr>
      <vt:lpstr>Key Issues</vt:lpstr>
      <vt:lpstr>Economic Uncertainty and Recession Concerns Loom Large</vt:lpstr>
      <vt:lpstr>Attracting and Retaining IT Talent Is Difficult</vt:lpstr>
      <vt:lpstr>Creating a Vision for Digital Change Is Critical … but It Isn’t Easy</vt:lpstr>
      <vt:lpstr>Digital Initiatives Are Not Meeting Expectations</vt:lpstr>
      <vt:lpstr>Key Issues</vt:lpstr>
      <vt:lpstr>Manage Cost With an Eye Toward Efficiency</vt:lpstr>
      <vt:lpstr>Manage Talent Strategies With Data Insights  … and Know What You’re Good at</vt:lpstr>
      <vt:lpstr>Focus Digital Initiatives on Meeting Organizational Objectives</vt:lpstr>
      <vt:lpstr>Make Sure to Tell the Right Value Story</vt:lpstr>
      <vt:lpstr>Understand the Dynamic Between Digital Initiatives and Cost Optimization</vt:lpstr>
      <vt:lpstr>Recommended Actions</vt:lpstr>
      <vt:lpstr>Recommended Gartner Research</vt:lpstr>
      <vt:lpstr>Evide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dsize Enterprise CIO Leadership Vision for 2023</dc:title>
  <dc:subject>2021 - Ver 2020-1104</dc:subject>
  <dc:creator>Leedy,Iris</dc:creator>
  <cp:lastModifiedBy>Carrie Black</cp:lastModifiedBy>
  <cp:revision>74</cp:revision>
  <dcterms:created xsi:type="dcterms:W3CDTF">2023-03-28T16:54:51Z</dcterms:created>
  <dcterms:modified xsi:type="dcterms:W3CDTF">2023-09-26T16:1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B2D47C2417044592744777E3B7233F</vt:lpwstr>
  </property>
</Properties>
</file>